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30"/>
  </p:notesMasterIdLst>
  <p:sldIdLst>
    <p:sldId id="345" r:id="rId16"/>
    <p:sldId id="365" r:id="rId17"/>
    <p:sldId id="381" r:id="rId18"/>
    <p:sldId id="367" r:id="rId19"/>
    <p:sldId id="366" r:id="rId20"/>
    <p:sldId id="371" r:id="rId21"/>
    <p:sldId id="370" r:id="rId22"/>
    <p:sldId id="375" r:id="rId23"/>
    <p:sldId id="376" r:id="rId24"/>
    <p:sldId id="378" r:id="rId25"/>
    <p:sldId id="379" r:id="rId26"/>
    <p:sldId id="380" r:id="rId27"/>
    <p:sldId id="369" r:id="rId28"/>
    <p:sldId id="298" r:id="rId29"/>
  </p:sldIdLst>
  <p:sldSz cx="12198350" cy="6858000"/>
  <p:notesSz cx="6858000" cy="9144000"/>
  <p:custDataLst>
    <p:tags r:id="rId31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4A7B7C"/>
    <a:srgbClr val="AFB9C3"/>
    <a:srgbClr val="0070C0"/>
    <a:srgbClr val="355859"/>
    <a:srgbClr val="505A64"/>
    <a:srgbClr val="646E78"/>
    <a:srgbClr val="66CCFF"/>
    <a:srgbClr val="7D8791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 varScale="1">
        <p:scale>
          <a:sx n="113" d="100"/>
          <a:sy n="113" d="100"/>
        </p:scale>
        <p:origin x="102" y="7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9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A215B7-33A2-4F58-BB60-58E1AC71697A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51D40838-A257-4D8C-9043-1D62D6AC7ED9}">
      <dgm:prSet phldrT="[Text]" custT="1"/>
      <dgm:spPr>
        <a:solidFill>
          <a:schemeClr val="bg1"/>
        </a:solidFill>
        <a:ln w="76200">
          <a:solidFill>
            <a:schemeClr val="bg1"/>
          </a:solidFill>
        </a:ln>
      </dgm:spPr>
      <dgm:t>
        <a:bodyPr lIns="360000" tIns="0" rIns="0" bIns="360000"/>
        <a:lstStyle/>
        <a:p>
          <a:r>
            <a:rPr lang="de-DE" sz="2000" dirty="0"/>
            <a:t>Protocol Bindings</a:t>
          </a:r>
          <a:endParaRPr lang="en-US" sz="2000" dirty="0"/>
        </a:p>
      </dgm:t>
    </dgm:pt>
    <dgm:pt modelId="{33021CB1-B9CD-4A98-BDB7-63BF584612E0}" type="parTrans" cxnId="{A0EACDD9-6961-46FF-B3C8-97E407B141FF}">
      <dgm:prSet/>
      <dgm:spPr/>
      <dgm:t>
        <a:bodyPr/>
        <a:lstStyle/>
        <a:p>
          <a:endParaRPr lang="en-US"/>
        </a:p>
      </dgm:t>
    </dgm:pt>
    <dgm:pt modelId="{2399E371-2135-426E-9034-1F7A6CCD6B03}" type="sibTrans" cxnId="{A0EACDD9-6961-46FF-B3C8-97E407B141FF}">
      <dgm:prSet/>
      <dgm:spPr/>
      <dgm:t>
        <a:bodyPr/>
        <a:lstStyle/>
        <a:p>
          <a:endParaRPr lang="en-US"/>
        </a:p>
      </dgm:t>
    </dgm:pt>
    <dgm:pt modelId="{108051A4-0EBF-4E23-865B-C124981FECCE}">
      <dgm:prSet phldrT="[Text]" custT="1"/>
      <dgm:spPr>
        <a:solidFill>
          <a:schemeClr val="bg1"/>
        </a:solidFill>
        <a:ln w="76200">
          <a:solidFill>
            <a:schemeClr val="bg1"/>
          </a:solidFill>
        </a:ln>
      </dgm:spPr>
      <dgm:t>
        <a:bodyPr lIns="0" tIns="360000" rIns="0" bIns="0"/>
        <a:lstStyle/>
        <a:p>
          <a:r>
            <a:rPr lang="de-DE" sz="2000" dirty="0"/>
            <a:t>Semantic Annotations</a:t>
          </a:r>
          <a:endParaRPr lang="en-US" sz="2000" dirty="0"/>
        </a:p>
      </dgm:t>
    </dgm:pt>
    <dgm:pt modelId="{E96BA10F-D324-4C04-B374-6D642100405B}" type="parTrans" cxnId="{DFB38E06-D64C-40C0-94A3-8A1FF904ECE0}">
      <dgm:prSet/>
      <dgm:spPr/>
      <dgm:t>
        <a:bodyPr/>
        <a:lstStyle/>
        <a:p>
          <a:endParaRPr lang="en-US"/>
        </a:p>
      </dgm:t>
    </dgm:pt>
    <dgm:pt modelId="{9D9902CB-1F4C-47DB-9C20-820AE794B8F1}" type="sibTrans" cxnId="{DFB38E06-D64C-40C0-94A3-8A1FF904ECE0}">
      <dgm:prSet/>
      <dgm:spPr/>
      <dgm:t>
        <a:bodyPr/>
        <a:lstStyle/>
        <a:p>
          <a:endParaRPr lang="en-US"/>
        </a:p>
      </dgm:t>
    </dgm:pt>
    <dgm:pt modelId="{F454C837-62BD-48A1-B8F3-CA71CEBB874B}">
      <dgm:prSet phldrT="[Text]" custT="1"/>
      <dgm:spPr>
        <a:solidFill>
          <a:srgbClr val="EB780A"/>
        </a:solidFill>
        <a:ln w="76200">
          <a:solidFill>
            <a:schemeClr val="bg1"/>
          </a:solidFill>
        </a:ln>
      </dgm:spPr>
      <dgm:t>
        <a:bodyPr lIns="0" tIns="0" rIns="360000" bIns="360000"/>
        <a:lstStyle/>
        <a:p>
          <a:r>
            <a:rPr lang="de-DE" sz="2000" dirty="0"/>
            <a:t>Data Schemas</a:t>
          </a:r>
          <a:endParaRPr lang="en-US" sz="2000" dirty="0"/>
        </a:p>
      </dgm:t>
    </dgm:pt>
    <dgm:pt modelId="{316B0FAE-A5A2-4A2A-BF36-32DB130C4FD1}" type="parTrans" cxnId="{364086D2-F396-400B-8B76-8DA00D50E006}">
      <dgm:prSet/>
      <dgm:spPr/>
      <dgm:t>
        <a:bodyPr/>
        <a:lstStyle/>
        <a:p>
          <a:endParaRPr lang="en-US"/>
        </a:p>
      </dgm:t>
    </dgm:pt>
    <dgm:pt modelId="{8D83B6BA-C4D6-4D40-9B9E-6C88FD5FBC30}" type="sibTrans" cxnId="{364086D2-F396-400B-8B76-8DA00D50E006}">
      <dgm:prSet/>
      <dgm:spPr/>
      <dgm:t>
        <a:bodyPr/>
        <a:lstStyle/>
        <a:p>
          <a:endParaRPr lang="en-US"/>
        </a:p>
      </dgm:t>
    </dgm:pt>
    <dgm:pt modelId="{C0119D77-8F78-4C18-88E5-AA04994C90E5}" type="pres">
      <dgm:prSet presAssocID="{D5A215B7-33A2-4F58-BB60-58E1AC71697A}" presName="compositeShape" presStyleCnt="0">
        <dgm:presLayoutVars>
          <dgm:chMax val="7"/>
          <dgm:dir/>
          <dgm:resizeHandles val="exact"/>
        </dgm:presLayoutVars>
      </dgm:prSet>
      <dgm:spPr/>
    </dgm:pt>
    <dgm:pt modelId="{70A92324-8C57-4698-BD4E-7ADD22DD3237}" type="pres">
      <dgm:prSet presAssocID="{D5A215B7-33A2-4F58-BB60-58E1AC71697A}" presName="wedge1" presStyleLbl="node1" presStyleIdx="0" presStyleCnt="3" custLinFactNeighborX="-2548" custLinFactNeighborY="1292"/>
      <dgm:spPr/>
      <dgm:t>
        <a:bodyPr/>
        <a:lstStyle/>
        <a:p>
          <a:endParaRPr lang="en-US"/>
        </a:p>
      </dgm:t>
    </dgm:pt>
    <dgm:pt modelId="{BA658E4E-0153-48DA-AE00-6B0B9927BE6F}" type="pres">
      <dgm:prSet presAssocID="{D5A215B7-33A2-4F58-BB60-58E1AC71697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E9C857-F35A-47D2-81EF-0E932A488279}" type="pres">
      <dgm:prSet presAssocID="{D5A215B7-33A2-4F58-BB60-58E1AC71697A}" presName="wedge2" presStyleLbl="node1" presStyleIdx="1" presStyleCnt="3" custLinFactNeighborX="2606" custLinFactNeighborY="-1685"/>
      <dgm:spPr/>
      <dgm:t>
        <a:bodyPr/>
        <a:lstStyle/>
        <a:p>
          <a:endParaRPr lang="en-US"/>
        </a:p>
      </dgm:t>
    </dgm:pt>
    <dgm:pt modelId="{85A48901-82E7-458E-82FE-B7C43028B5F4}" type="pres">
      <dgm:prSet presAssocID="{D5A215B7-33A2-4F58-BB60-58E1AC71697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03373-102D-47C0-ADA7-A2720502D45B}" type="pres">
      <dgm:prSet presAssocID="{D5A215B7-33A2-4F58-BB60-58E1AC71697A}" presName="wedge3" presStyleLbl="node1" presStyleIdx="2" presStyleCnt="3" custLinFactNeighborX="2606" custLinFactNeighborY="-1685"/>
      <dgm:spPr/>
      <dgm:t>
        <a:bodyPr/>
        <a:lstStyle/>
        <a:p>
          <a:endParaRPr lang="en-US"/>
        </a:p>
      </dgm:t>
    </dgm:pt>
    <dgm:pt modelId="{56634BB6-AE56-4560-83C3-A82EFDD3BEFA}" type="pres">
      <dgm:prSet presAssocID="{D5A215B7-33A2-4F58-BB60-58E1AC71697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793497-CF90-4C74-83A3-29BEC79E5648}" type="presOf" srcId="{51D40838-A257-4D8C-9043-1D62D6AC7ED9}" destId="{70A92324-8C57-4698-BD4E-7ADD22DD3237}" srcOrd="0" destOrd="0" presId="urn:microsoft.com/office/officeart/2005/8/layout/chart3"/>
    <dgm:cxn modelId="{5170ECD1-4E99-44C6-A92F-0B94C811127A}" type="presOf" srcId="{F454C837-62BD-48A1-B8F3-CA71CEBB874B}" destId="{02703373-102D-47C0-ADA7-A2720502D45B}" srcOrd="0" destOrd="0" presId="urn:microsoft.com/office/officeart/2005/8/layout/chart3"/>
    <dgm:cxn modelId="{7FECF53A-DA3E-4C62-A7A0-9552D0E295DC}" type="presOf" srcId="{D5A215B7-33A2-4F58-BB60-58E1AC71697A}" destId="{C0119D77-8F78-4C18-88E5-AA04994C90E5}" srcOrd="0" destOrd="0" presId="urn:microsoft.com/office/officeart/2005/8/layout/chart3"/>
    <dgm:cxn modelId="{A0EACDD9-6961-46FF-B3C8-97E407B141FF}" srcId="{D5A215B7-33A2-4F58-BB60-58E1AC71697A}" destId="{51D40838-A257-4D8C-9043-1D62D6AC7ED9}" srcOrd="0" destOrd="0" parTransId="{33021CB1-B9CD-4A98-BDB7-63BF584612E0}" sibTransId="{2399E371-2135-426E-9034-1F7A6CCD6B03}"/>
    <dgm:cxn modelId="{364086D2-F396-400B-8B76-8DA00D50E006}" srcId="{D5A215B7-33A2-4F58-BB60-58E1AC71697A}" destId="{F454C837-62BD-48A1-B8F3-CA71CEBB874B}" srcOrd="2" destOrd="0" parTransId="{316B0FAE-A5A2-4A2A-BF36-32DB130C4FD1}" sibTransId="{8D83B6BA-C4D6-4D40-9B9E-6C88FD5FBC30}"/>
    <dgm:cxn modelId="{18BB3280-9206-45C3-9A3A-AAB38A498E53}" type="presOf" srcId="{F454C837-62BD-48A1-B8F3-CA71CEBB874B}" destId="{56634BB6-AE56-4560-83C3-A82EFDD3BEFA}" srcOrd="1" destOrd="0" presId="urn:microsoft.com/office/officeart/2005/8/layout/chart3"/>
    <dgm:cxn modelId="{DFB38E06-D64C-40C0-94A3-8A1FF904ECE0}" srcId="{D5A215B7-33A2-4F58-BB60-58E1AC71697A}" destId="{108051A4-0EBF-4E23-865B-C124981FECCE}" srcOrd="1" destOrd="0" parTransId="{E96BA10F-D324-4C04-B374-6D642100405B}" sibTransId="{9D9902CB-1F4C-47DB-9C20-820AE794B8F1}"/>
    <dgm:cxn modelId="{99BE28BC-3508-433C-8A85-05330E95A937}" type="presOf" srcId="{108051A4-0EBF-4E23-865B-C124981FECCE}" destId="{85A48901-82E7-458E-82FE-B7C43028B5F4}" srcOrd="1" destOrd="0" presId="urn:microsoft.com/office/officeart/2005/8/layout/chart3"/>
    <dgm:cxn modelId="{2E51A7F7-23A7-4822-8B4F-C272D70D7AA6}" type="presOf" srcId="{108051A4-0EBF-4E23-865B-C124981FECCE}" destId="{F5E9C857-F35A-47D2-81EF-0E932A488279}" srcOrd="0" destOrd="0" presId="urn:microsoft.com/office/officeart/2005/8/layout/chart3"/>
    <dgm:cxn modelId="{2DE87C16-06D8-4559-8BE3-D3D0DC8D769D}" type="presOf" srcId="{51D40838-A257-4D8C-9043-1D62D6AC7ED9}" destId="{BA658E4E-0153-48DA-AE00-6B0B9927BE6F}" srcOrd="1" destOrd="0" presId="urn:microsoft.com/office/officeart/2005/8/layout/chart3"/>
    <dgm:cxn modelId="{A3D11034-F196-4517-B638-ADFD0259ECEF}" type="presParOf" srcId="{C0119D77-8F78-4C18-88E5-AA04994C90E5}" destId="{70A92324-8C57-4698-BD4E-7ADD22DD3237}" srcOrd="0" destOrd="0" presId="urn:microsoft.com/office/officeart/2005/8/layout/chart3"/>
    <dgm:cxn modelId="{2966BD98-D73C-41AD-BDC2-C0124D7B1C8D}" type="presParOf" srcId="{C0119D77-8F78-4C18-88E5-AA04994C90E5}" destId="{BA658E4E-0153-48DA-AE00-6B0B9927BE6F}" srcOrd="1" destOrd="0" presId="urn:microsoft.com/office/officeart/2005/8/layout/chart3"/>
    <dgm:cxn modelId="{BFE38C7E-E2EE-4751-9B74-CA23BBF80284}" type="presParOf" srcId="{C0119D77-8F78-4C18-88E5-AA04994C90E5}" destId="{F5E9C857-F35A-47D2-81EF-0E932A488279}" srcOrd="2" destOrd="0" presId="urn:microsoft.com/office/officeart/2005/8/layout/chart3"/>
    <dgm:cxn modelId="{4F477FEB-03D8-4982-A8F4-31569769D934}" type="presParOf" srcId="{C0119D77-8F78-4C18-88E5-AA04994C90E5}" destId="{85A48901-82E7-458E-82FE-B7C43028B5F4}" srcOrd="3" destOrd="0" presId="urn:microsoft.com/office/officeart/2005/8/layout/chart3"/>
    <dgm:cxn modelId="{5AA866CA-B9AE-45D5-A6AB-6FCEC355F985}" type="presParOf" srcId="{C0119D77-8F78-4C18-88E5-AA04994C90E5}" destId="{02703373-102D-47C0-ADA7-A2720502D45B}" srcOrd="4" destOrd="0" presId="urn:microsoft.com/office/officeart/2005/8/layout/chart3"/>
    <dgm:cxn modelId="{EE21FB9B-1FB7-43DC-9ED2-6FA3EC52073D}" type="presParOf" srcId="{C0119D77-8F78-4C18-88E5-AA04994C90E5}" destId="{56634BB6-AE56-4560-83C3-A82EFDD3BEFA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A215B7-33A2-4F58-BB60-58E1AC71697A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51D40838-A257-4D8C-9043-1D62D6AC7ED9}">
      <dgm:prSet phldrT="[Text]" custT="1"/>
      <dgm:spPr>
        <a:solidFill>
          <a:srgbClr val="00B050"/>
        </a:solidFill>
        <a:ln w="76200">
          <a:solidFill>
            <a:schemeClr val="bg1"/>
          </a:solidFill>
        </a:ln>
      </dgm:spPr>
      <dgm:t>
        <a:bodyPr lIns="360000" tIns="0" rIns="0" bIns="360000"/>
        <a:lstStyle/>
        <a:p>
          <a:r>
            <a:rPr lang="de-DE" sz="2000" dirty="0"/>
            <a:t>Hyper-media</a:t>
          </a:r>
          <a:endParaRPr lang="en-US" sz="2000" dirty="0"/>
        </a:p>
      </dgm:t>
    </dgm:pt>
    <dgm:pt modelId="{33021CB1-B9CD-4A98-BDB7-63BF584612E0}" type="parTrans" cxnId="{A0EACDD9-6961-46FF-B3C8-97E407B141FF}">
      <dgm:prSet/>
      <dgm:spPr/>
      <dgm:t>
        <a:bodyPr/>
        <a:lstStyle/>
        <a:p>
          <a:endParaRPr lang="en-US"/>
        </a:p>
      </dgm:t>
    </dgm:pt>
    <dgm:pt modelId="{2399E371-2135-426E-9034-1F7A6CCD6B03}" type="sibTrans" cxnId="{A0EACDD9-6961-46FF-B3C8-97E407B141FF}">
      <dgm:prSet/>
      <dgm:spPr/>
      <dgm:t>
        <a:bodyPr/>
        <a:lstStyle/>
        <a:p>
          <a:endParaRPr lang="en-US"/>
        </a:p>
      </dgm:t>
    </dgm:pt>
    <dgm:pt modelId="{108051A4-0EBF-4E23-865B-C124981FECCE}">
      <dgm:prSet phldrT="[Text]" custT="1"/>
      <dgm:spPr>
        <a:solidFill>
          <a:schemeClr val="bg1"/>
        </a:solidFill>
        <a:ln w="76200">
          <a:solidFill>
            <a:schemeClr val="bg1"/>
          </a:solidFill>
        </a:ln>
      </dgm:spPr>
      <dgm:t>
        <a:bodyPr lIns="0" tIns="360000" rIns="0" bIns="0"/>
        <a:lstStyle/>
        <a:p>
          <a:r>
            <a:rPr lang="de-DE" sz="2000" dirty="0"/>
            <a:t>Semantic Annotations</a:t>
          </a:r>
          <a:endParaRPr lang="en-US" sz="2000" dirty="0"/>
        </a:p>
      </dgm:t>
    </dgm:pt>
    <dgm:pt modelId="{E96BA10F-D324-4C04-B374-6D642100405B}" type="parTrans" cxnId="{DFB38E06-D64C-40C0-94A3-8A1FF904ECE0}">
      <dgm:prSet/>
      <dgm:spPr/>
      <dgm:t>
        <a:bodyPr/>
        <a:lstStyle/>
        <a:p>
          <a:endParaRPr lang="en-US"/>
        </a:p>
      </dgm:t>
    </dgm:pt>
    <dgm:pt modelId="{9D9902CB-1F4C-47DB-9C20-820AE794B8F1}" type="sibTrans" cxnId="{DFB38E06-D64C-40C0-94A3-8A1FF904ECE0}">
      <dgm:prSet/>
      <dgm:spPr/>
      <dgm:t>
        <a:bodyPr/>
        <a:lstStyle/>
        <a:p>
          <a:endParaRPr lang="en-US"/>
        </a:p>
      </dgm:t>
    </dgm:pt>
    <dgm:pt modelId="{F454C837-62BD-48A1-B8F3-CA71CEBB874B}">
      <dgm:prSet phldrT="[Text]" custT="1"/>
      <dgm:spPr>
        <a:solidFill>
          <a:srgbClr val="EB780A"/>
        </a:solidFill>
        <a:ln w="76200">
          <a:solidFill>
            <a:schemeClr val="bg1"/>
          </a:solidFill>
        </a:ln>
      </dgm:spPr>
      <dgm:t>
        <a:bodyPr lIns="0" tIns="0" rIns="360000" bIns="360000"/>
        <a:lstStyle/>
        <a:p>
          <a:r>
            <a:rPr lang="de-DE" sz="2000" dirty="0"/>
            <a:t>Data Schemas</a:t>
          </a:r>
          <a:endParaRPr lang="en-US" sz="2000" dirty="0"/>
        </a:p>
      </dgm:t>
    </dgm:pt>
    <dgm:pt modelId="{316B0FAE-A5A2-4A2A-BF36-32DB130C4FD1}" type="parTrans" cxnId="{364086D2-F396-400B-8B76-8DA00D50E006}">
      <dgm:prSet/>
      <dgm:spPr/>
      <dgm:t>
        <a:bodyPr/>
        <a:lstStyle/>
        <a:p>
          <a:endParaRPr lang="en-US"/>
        </a:p>
      </dgm:t>
    </dgm:pt>
    <dgm:pt modelId="{8D83B6BA-C4D6-4D40-9B9E-6C88FD5FBC30}" type="sibTrans" cxnId="{364086D2-F396-400B-8B76-8DA00D50E006}">
      <dgm:prSet/>
      <dgm:spPr/>
      <dgm:t>
        <a:bodyPr/>
        <a:lstStyle/>
        <a:p>
          <a:endParaRPr lang="en-US"/>
        </a:p>
      </dgm:t>
    </dgm:pt>
    <dgm:pt modelId="{C0119D77-8F78-4C18-88E5-AA04994C90E5}" type="pres">
      <dgm:prSet presAssocID="{D5A215B7-33A2-4F58-BB60-58E1AC71697A}" presName="compositeShape" presStyleCnt="0">
        <dgm:presLayoutVars>
          <dgm:chMax val="7"/>
          <dgm:dir/>
          <dgm:resizeHandles val="exact"/>
        </dgm:presLayoutVars>
      </dgm:prSet>
      <dgm:spPr/>
    </dgm:pt>
    <dgm:pt modelId="{70A92324-8C57-4698-BD4E-7ADD22DD3237}" type="pres">
      <dgm:prSet presAssocID="{D5A215B7-33A2-4F58-BB60-58E1AC71697A}" presName="wedge1" presStyleLbl="node1" presStyleIdx="0" presStyleCnt="3" custLinFactNeighborX="-2548" custLinFactNeighborY="1292"/>
      <dgm:spPr/>
      <dgm:t>
        <a:bodyPr/>
        <a:lstStyle/>
        <a:p>
          <a:endParaRPr lang="en-US"/>
        </a:p>
      </dgm:t>
    </dgm:pt>
    <dgm:pt modelId="{BA658E4E-0153-48DA-AE00-6B0B9927BE6F}" type="pres">
      <dgm:prSet presAssocID="{D5A215B7-33A2-4F58-BB60-58E1AC71697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E9C857-F35A-47D2-81EF-0E932A488279}" type="pres">
      <dgm:prSet presAssocID="{D5A215B7-33A2-4F58-BB60-58E1AC71697A}" presName="wedge2" presStyleLbl="node1" presStyleIdx="1" presStyleCnt="3" custLinFactNeighborX="2606" custLinFactNeighborY="-1685"/>
      <dgm:spPr/>
      <dgm:t>
        <a:bodyPr/>
        <a:lstStyle/>
        <a:p>
          <a:endParaRPr lang="en-US"/>
        </a:p>
      </dgm:t>
    </dgm:pt>
    <dgm:pt modelId="{85A48901-82E7-458E-82FE-B7C43028B5F4}" type="pres">
      <dgm:prSet presAssocID="{D5A215B7-33A2-4F58-BB60-58E1AC71697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03373-102D-47C0-ADA7-A2720502D45B}" type="pres">
      <dgm:prSet presAssocID="{D5A215B7-33A2-4F58-BB60-58E1AC71697A}" presName="wedge3" presStyleLbl="node1" presStyleIdx="2" presStyleCnt="3" custLinFactNeighborX="2606" custLinFactNeighborY="-1685"/>
      <dgm:spPr/>
      <dgm:t>
        <a:bodyPr/>
        <a:lstStyle/>
        <a:p>
          <a:endParaRPr lang="en-US"/>
        </a:p>
      </dgm:t>
    </dgm:pt>
    <dgm:pt modelId="{56634BB6-AE56-4560-83C3-A82EFDD3BEFA}" type="pres">
      <dgm:prSet presAssocID="{D5A215B7-33A2-4F58-BB60-58E1AC71697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7111D6-867A-4665-9D79-7BC07AA7853A}" type="presOf" srcId="{D5A215B7-33A2-4F58-BB60-58E1AC71697A}" destId="{C0119D77-8F78-4C18-88E5-AA04994C90E5}" srcOrd="0" destOrd="0" presId="urn:microsoft.com/office/officeart/2005/8/layout/chart3"/>
    <dgm:cxn modelId="{3450D492-A553-4753-847A-93AD75EEABC0}" type="presOf" srcId="{51D40838-A257-4D8C-9043-1D62D6AC7ED9}" destId="{70A92324-8C57-4698-BD4E-7ADD22DD3237}" srcOrd="0" destOrd="0" presId="urn:microsoft.com/office/officeart/2005/8/layout/chart3"/>
    <dgm:cxn modelId="{A0EACDD9-6961-46FF-B3C8-97E407B141FF}" srcId="{D5A215B7-33A2-4F58-BB60-58E1AC71697A}" destId="{51D40838-A257-4D8C-9043-1D62D6AC7ED9}" srcOrd="0" destOrd="0" parTransId="{33021CB1-B9CD-4A98-BDB7-63BF584612E0}" sibTransId="{2399E371-2135-426E-9034-1F7A6CCD6B03}"/>
    <dgm:cxn modelId="{CE10BDDD-515A-4183-9640-6CCFE03D1042}" type="presOf" srcId="{51D40838-A257-4D8C-9043-1D62D6AC7ED9}" destId="{BA658E4E-0153-48DA-AE00-6B0B9927BE6F}" srcOrd="1" destOrd="0" presId="urn:microsoft.com/office/officeart/2005/8/layout/chart3"/>
    <dgm:cxn modelId="{364086D2-F396-400B-8B76-8DA00D50E006}" srcId="{D5A215B7-33A2-4F58-BB60-58E1AC71697A}" destId="{F454C837-62BD-48A1-B8F3-CA71CEBB874B}" srcOrd="2" destOrd="0" parTransId="{316B0FAE-A5A2-4A2A-BF36-32DB130C4FD1}" sibTransId="{8D83B6BA-C4D6-4D40-9B9E-6C88FD5FBC30}"/>
    <dgm:cxn modelId="{DFB38E06-D64C-40C0-94A3-8A1FF904ECE0}" srcId="{D5A215B7-33A2-4F58-BB60-58E1AC71697A}" destId="{108051A4-0EBF-4E23-865B-C124981FECCE}" srcOrd="1" destOrd="0" parTransId="{E96BA10F-D324-4C04-B374-6D642100405B}" sibTransId="{9D9902CB-1F4C-47DB-9C20-820AE794B8F1}"/>
    <dgm:cxn modelId="{24EA3DED-434B-48EB-8686-202F3EE82E1D}" type="presOf" srcId="{108051A4-0EBF-4E23-865B-C124981FECCE}" destId="{F5E9C857-F35A-47D2-81EF-0E932A488279}" srcOrd="0" destOrd="0" presId="urn:microsoft.com/office/officeart/2005/8/layout/chart3"/>
    <dgm:cxn modelId="{DEAD5FE8-26C4-4CE2-A873-3B367C8450EF}" type="presOf" srcId="{F454C837-62BD-48A1-B8F3-CA71CEBB874B}" destId="{56634BB6-AE56-4560-83C3-A82EFDD3BEFA}" srcOrd="1" destOrd="0" presId="urn:microsoft.com/office/officeart/2005/8/layout/chart3"/>
    <dgm:cxn modelId="{54640B1B-DC3D-4A23-B477-D0DFF2B3BE12}" type="presOf" srcId="{F454C837-62BD-48A1-B8F3-CA71CEBB874B}" destId="{02703373-102D-47C0-ADA7-A2720502D45B}" srcOrd="0" destOrd="0" presId="urn:microsoft.com/office/officeart/2005/8/layout/chart3"/>
    <dgm:cxn modelId="{F45E181E-CD7A-4F52-B7D2-C541BFDB29E4}" type="presOf" srcId="{108051A4-0EBF-4E23-865B-C124981FECCE}" destId="{85A48901-82E7-458E-82FE-B7C43028B5F4}" srcOrd="1" destOrd="0" presId="urn:microsoft.com/office/officeart/2005/8/layout/chart3"/>
    <dgm:cxn modelId="{DC6A7AEB-D14C-415A-9C41-41543639D799}" type="presParOf" srcId="{C0119D77-8F78-4C18-88E5-AA04994C90E5}" destId="{70A92324-8C57-4698-BD4E-7ADD22DD3237}" srcOrd="0" destOrd="0" presId="urn:microsoft.com/office/officeart/2005/8/layout/chart3"/>
    <dgm:cxn modelId="{A45B35B5-CF79-4710-B1BC-53AC20E0E991}" type="presParOf" srcId="{C0119D77-8F78-4C18-88E5-AA04994C90E5}" destId="{BA658E4E-0153-48DA-AE00-6B0B9927BE6F}" srcOrd="1" destOrd="0" presId="urn:microsoft.com/office/officeart/2005/8/layout/chart3"/>
    <dgm:cxn modelId="{2DFF0957-3DD5-422F-8897-3B300266D519}" type="presParOf" srcId="{C0119D77-8F78-4C18-88E5-AA04994C90E5}" destId="{F5E9C857-F35A-47D2-81EF-0E932A488279}" srcOrd="2" destOrd="0" presId="urn:microsoft.com/office/officeart/2005/8/layout/chart3"/>
    <dgm:cxn modelId="{52FB5446-6F30-407C-B189-798F4DA1C624}" type="presParOf" srcId="{C0119D77-8F78-4C18-88E5-AA04994C90E5}" destId="{85A48901-82E7-458E-82FE-B7C43028B5F4}" srcOrd="3" destOrd="0" presId="urn:microsoft.com/office/officeart/2005/8/layout/chart3"/>
    <dgm:cxn modelId="{78F798B2-DA46-4DCE-89DF-245CF19E3FEE}" type="presParOf" srcId="{C0119D77-8F78-4C18-88E5-AA04994C90E5}" destId="{02703373-102D-47C0-ADA7-A2720502D45B}" srcOrd="4" destOrd="0" presId="urn:microsoft.com/office/officeart/2005/8/layout/chart3"/>
    <dgm:cxn modelId="{1B8559D1-B3AE-4BB5-839D-8AF1A0D56D5D}" type="presParOf" srcId="{C0119D77-8F78-4C18-88E5-AA04994C90E5}" destId="{56634BB6-AE56-4560-83C3-A82EFDD3BEFA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A215B7-33A2-4F58-BB60-58E1AC71697A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51D40838-A257-4D8C-9043-1D62D6AC7ED9}">
      <dgm:prSet phldrT="[Text]" custT="1"/>
      <dgm:spPr>
        <a:solidFill>
          <a:srgbClr val="00B050"/>
        </a:solidFill>
        <a:ln w="76200">
          <a:solidFill>
            <a:schemeClr val="bg1"/>
          </a:solidFill>
        </a:ln>
      </dgm:spPr>
      <dgm:t>
        <a:bodyPr lIns="360000" tIns="0" rIns="0" bIns="360000"/>
        <a:lstStyle/>
        <a:p>
          <a:r>
            <a:rPr lang="de-DE" sz="2000" dirty="0"/>
            <a:t>Hyper-media</a:t>
          </a:r>
          <a:endParaRPr lang="en-US" sz="2000" dirty="0"/>
        </a:p>
      </dgm:t>
    </dgm:pt>
    <dgm:pt modelId="{33021CB1-B9CD-4A98-BDB7-63BF584612E0}" type="parTrans" cxnId="{A0EACDD9-6961-46FF-B3C8-97E407B141FF}">
      <dgm:prSet/>
      <dgm:spPr/>
      <dgm:t>
        <a:bodyPr/>
        <a:lstStyle/>
        <a:p>
          <a:endParaRPr lang="en-US"/>
        </a:p>
      </dgm:t>
    </dgm:pt>
    <dgm:pt modelId="{2399E371-2135-426E-9034-1F7A6CCD6B03}" type="sibTrans" cxnId="{A0EACDD9-6961-46FF-B3C8-97E407B141FF}">
      <dgm:prSet/>
      <dgm:spPr/>
      <dgm:t>
        <a:bodyPr/>
        <a:lstStyle/>
        <a:p>
          <a:endParaRPr lang="en-US"/>
        </a:p>
      </dgm:t>
    </dgm:pt>
    <dgm:pt modelId="{108051A4-0EBF-4E23-865B-C124981FECCE}">
      <dgm:prSet phldrT="[Text]" custT="1"/>
      <dgm:spPr>
        <a:solidFill>
          <a:srgbClr val="0070C0"/>
        </a:solidFill>
        <a:ln w="76200">
          <a:solidFill>
            <a:schemeClr val="bg1"/>
          </a:solidFill>
        </a:ln>
      </dgm:spPr>
      <dgm:t>
        <a:bodyPr lIns="0" tIns="360000" rIns="0" bIns="0"/>
        <a:lstStyle/>
        <a:p>
          <a:r>
            <a:rPr lang="de-DE" sz="2000" dirty="0"/>
            <a:t>Semantic Annotations</a:t>
          </a:r>
          <a:endParaRPr lang="en-US" sz="2000" dirty="0"/>
        </a:p>
      </dgm:t>
    </dgm:pt>
    <dgm:pt modelId="{E96BA10F-D324-4C04-B374-6D642100405B}" type="parTrans" cxnId="{DFB38E06-D64C-40C0-94A3-8A1FF904ECE0}">
      <dgm:prSet/>
      <dgm:spPr/>
      <dgm:t>
        <a:bodyPr/>
        <a:lstStyle/>
        <a:p>
          <a:endParaRPr lang="en-US"/>
        </a:p>
      </dgm:t>
    </dgm:pt>
    <dgm:pt modelId="{9D9902CB-1F4C-47DB-9C20-820AE794B8F1}" type="sibTrans" cxnId="{DFB38E06-D64C-40C0-94A3-8A1FF904ECE0}">
      <dgm:prSet/>
      <dgm:spPr/>
      <dgm:t>
        <a:bodyPr/>
        <a:lstStyle/>
        <a:p>
          <a:endParaRPr lang="en-US"/>
        </a:p>
      </dgm:t>
    </dgm:pt>
    <dgm:pt modelId="{F454C837-62BD-48A1-B8F3-CA71CEBB874B}">
      <dgm:prSet phldrT="[Text]" custT="1"/>
      <dgm:spPr>
        <a:solidFill>
          <a:srgbClr val="EB780A"/>
        </a:solidFill>
        <a:ln w="76200">
          <a:solidFill>
            <a:schemeClr val="bg1"/>
          </a:solidFill>
        </a:ln>
      </dgm:spPr>
      <dgm:t>
        <a:bodyPr lIns="0" tIns="0" rIns="360000" bIns="360000"/>
        <a:lstStyle/>
        <a:p>
          <a:r>
            <a:rPr lang="de-DE" sz="2000" dirty="0"/>
            <a:t>Data Schemas</a:t>
          </a:r>
          <a:endParaRPr lang="en-US" sz="2000" dirty="0"/>
        </a:p>
      </dgm:t>
    </dgm:pt>
    <dgm:pt modelId="{316B0FAE-A5A2-4A2A-BF36-32DB130C4FD1}" type="parTrans" cxnId="{364086D2-F396-400B-8B76-8DA00D50E006}">
      <dgm:prSet/>
      <dgm:spPr/>
      <dgm:t>
        <a:bodyPr/>
        <a:lstStyle/>
        <a:p>
          <a:endParaRPr lang="en-US"/>
        </a:p>
      </dgm:t>
    </dgm:pt>
    <dgm:pt modelId="{8D83B6BA-C4D6-4D40-9B9E-6C88FD5FBC30}" type="sibTrans" cxnId="{364086D2-F396-400B-8B76-8DA00D50E006}">
      <dgm:prSet/>
      <dgm:spPr/>
      <dgm:t>
        <a:bodyPr/>
        <a:lstStyle/>
        <a:p>
          <a:endParaRPr lang="en-US"/>
        </a:p>
      </dgm:t>
    </dgm:pt>
    <dgm:pt modelId="{C0119D77-8F78-4C18-88E5-AA04994C90E5}" type="pres">
      <dgm:prSet presAssocID="{D5A215B7-33A2-4F58-BB60-58E1AC71697A}" presName="compositeShape" presStyleCnt="0">
        <dgm:presLayoutVars>
          <dgm:chMax val="7"/>
          <dgm:dir/>
          <dgm:resizeHandles val="exact"/>
        </dgm:presLayoutVars>
      </dgm:prSet>
      <dgm:spPr/>
    </dgm:pt>
    <dgm:pt modelId="{70A92324-8C57-4698-BD4E-7ADD22DD3237}" type="pres">
      <dgm:prSet presAssocID="{D5A215B7-33A2-4F58-BB60-58E1AC71697A}" presName="wedge1" presStyleLbl="node1" presStyleIdx="0" presStyleCnt="3" custLinFactNeighborX="-2548" custLinFactNeighborY="1292"/>
      <dgm:spPr/>
      <dgm:t>
        <a:bodyPr/>
        <a:lstStyle/>
        <a:p>
          <a:endParaRPr lang="en-US"/>
        </a:p>
      </dgm:t>
    </dgm:pt>
    <dgm:pt modelId="{BA658E4E-0153-48DA-AE00-6B0B9927BE6F}" type="pres">
      <dgm:prSet presAssocID="{D5A215B7-33A2-4F58-BB60-58E1AC71697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E9C857-F35A-47D2-81EF-0E932A488279}" type="pres">
      <dgm:prSet presAssocID="{D5A215B7-33A2-4F58-BB60-58E1AC71697A}" presName="wedge2" presStyleLbl="node1" presStyleIdx="1" presStyleCnt="3" custLinFactNeighborX="2606" custLinFactNeighborY="-1685"/>
      <dgm:spPr/>
      <dgm:t>
        <a:bodyPr/>
        <a:lstStyle/>
        <a:p>
          <a:endParaRPr lang="en-US"/>
        </a:p>
      </dgm:t>
    </dgm:pt>
    <dgm:pt modelId="{85A48901-82E7-458E-82FE-B7C43028B5F4}" type="pres">
      <dgm:prSet presAssocID="{D5A215B7-33A2-4F58-BB60-58E1AC71697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03373-102D-47C0-ADA7-A2720502D45B}" type="pres">
      <dgm:prSet presAssocID="{D5A215B7-33A2-4F58-BB60-58E1AC71697A}" presName="wedge3" presStyleLbl="node1" presStyleIdx="2" presStyleCnt="3" custLinFactNeighborX="2606" custLinFactNeighborY="-1685"/>
      <dgm:spPr/>
      <dgm:t>
        <a:bodyPr/>
        <a:lstStyle/>
        <a:p>
          <a:endParaRPr lang="en-US"/>
        </a:p>
      </dgm:t>
    </dgm:pt>
    <dgm:pt modelId="{56634BB6-AE56-4560-83C3-A82EFDD3BEFA}" type="pres">
      <dgm:prSet presAssocID="{D5A215B7-33A2-4F58-BB60-58E1AC71697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0EACDD9-6961-46FF-B3C8-97E407B141FF}" srcId="{D5A215B7-33A2-4F58-BB60-58E1AC71697A}" destId="{51D40838-A257-4D8C-9043-1D62D6AC7ED9}" srcOrd="0" destOrd="0" parTransId="{33021CB1-B9CD-4A98-BDB7-63BF584612E0}" sibTransId="{2399E371-2135-426E-9034-1F7A6CCD6B03}"/>
    <dgm:cxn modelId="{2740C165-06D3-458E-8228-5B85D9100DF7}" type="presOf" srcId="{51D40838-A257-4D8C-9043-1D62D6AC7ED9}" destId="{70A92324-8C57-4698-BD4E-7ADD22DD3237}" srcOrd="0" destOrd="0" presId="urn:microsoft.com/office/officeart/2005/8/layout/chart3"/>
    <dgm:cxn modelId="{CBD9C3E5-1393-44DB-B45B-4D71CC783D99}" type="presOf" srcId="{F454C837-62BD-48A1-B8F3-CA71CEBB874B}" destId="{56634BB6-AE56-4560-83C3-A82EFDD3BEFA}" srcOrd="1" destOrd="0" presId="urn:microsoft.com/office/officeart/2005/8/layout/chart3"/>
    <dgm:cxn modelId="{7F5C1AEA-49F4-4705-AC4D-8849EDBA58AE}" type="presOf" srcId="{D5A215B7-33A2-4F58-BB60-58E1AC71697A}" destId="{C0119D77-8F78-4C18-88E5-AA04994C90E5}" srcOrd="0" destOrd="0" presId="urn:microsoft.com/office/officeart/2005/8/layout/chart3"/>
    <dgm:cxn modelId="{364086D2-F396-400B-8B76-8DA00D50E006}" srcId="{D5A215B7-33A2-4F58-BB60-58E1AC71697A}" destId="{F454C837-62BD-48A1-B8F3-CA71CEBB874B}" srcOrd="2" destOrd="0" parTransId="{316B0FAE-A5A2-4A2A-BF36-32DB130C4FD1}" sibTransId="{8D83B6BA-C4D6-4D40-9B9E-6C88FD5FBC30}"/>
    <dgm:cxn modelId="{2C6139C0-E20F-4000-8FCC-08A9402CCE90}" type="presOf" srcId="{108051A4-0EBF-4E23-865B-C124981FECCE}" destId="{F5E9C857-F35A-47D2-81EF-0E932A488279}" srcOrd="0" destOrd="0" presId="urn:microsoft.com/office/officeart/2005/8/layout/chart3"/>
    <dgm:cxn modelId="{FCC3F2DC-5746-4E73-92DE-D282102B98DC}" type="presOf" srcId="{51D40838-A257-4D8C-9043-1D62D6AC7ED9}" destId="{BA658E4E-0153-48DA-AE00-6B0B9927BE6F}" srcOrd="1" destOrd="0" presId="urn:microsoft.com/office/officeart/2005/8/layout/chart3"/>
    <dgm:cxn modelId="{DFB38E06-D64C-40C0-94A3-8A1FF904ECE0}" srcId="{D5A215B7-33A2-4F58-BB60-58E1AC71697A}" destId="{108051A4-0EBF-4E23-865B-C124981FECCE}" srcOrd="1" destOrd="0" parTransId="{E96BA10F-D324-4C04-B374-6D642100405B}" sibTransId="{9D9902CB-1F4C-47DB-9C20-820AE794B8F1}"/>
    <dgm:cxn modelId="{0CC88EDE-7941-432C-B88A-7769BB03DA6C}" type="presOf" srcId="{F454C837-62BD-48A1-B8F3-CA71CEBB874B}" destId="{02703373-102D-47C0-ADA7-A2720502D45B}" srcOrd="0" destOrd="0" presId="urn:microsoft.com/office/officeart/2005/8/layout/chart3"/>
    <dgm:cxn modelId="{C68C4BDD-D5E0-42D5-ABE7-C9C66A773965}" type="presOf" srcId="{108051A4-0EBF-4E23-865B-C124981FECCE}" destId="{85A48901-82E7-458E-82FE-B7C43028B5F4}" srcOrd="1" destOrd="0" presId="urn:microsoft.com/office/officeart/2005/8/layout/chart3"/>
    <dgm:cxn modelId="{1FB7CAF5-6493-4C89-B3A8-1D454730AC92}" type="presParOf" srcId="{C0119D77-8F78-4C18-88E5-AA04994C90E5}" destId="{70A92324-8C57-4698-BD4E-7ADD22DD3237}" srcOrd="0" destOrd="0" presId="urn:microsoft.com/office/officeart/2005/8/layout/chart3"/>
    <dgm:cxn modelId="{489DA6F9-1204-407A-B9CB-4FD34E95EE00}" type="presParOf" srcId="{C0119D77-8F78-4C18-88E5-AA04994C90E5}" destId="{BA658E4E-0153-48DA-AE00-6B0B9927BE6F}" srcOrd="1" destOrd="0" presId="urn:microsoft.com/office/officeart/2005/8/layout/chart3"/>
    <dgm:cxn modelId="{026505CF-248C-4007-B50E-D12223397A79}" type="presParOf" srcId="{C0119D77-8F78-4C18-88E5-AA04994C90E5}" destId="{F5E9C857-F35A-47D2-81EF-0E932A488279}" srcOrd="2" destOrd="0" presId="urn:microsoft.com/office/officeart/2005/8/layout/chart3"/>
    <dgm:cxn modelId="{FAC604D9-C1B8-4DD6-95D1-C25B2826A733}" type="presParOf" srcId="{C0119D77-8F78-4C18-88E5-AA04994C90E5}" destId="{85A48901-82E7-458E-82FE-B7C43028B5F4}" srcOrd="3" destOrd="0" presId="urn:microsoft.com/office/officeart/2005/8/layout/chart3"/>
    <dgm:cxn modelId="{C98EF2EE-3821-49BC-AA8B-A0B8ED97C1AA}" type="presParOf" srcId="{C0119D77-8F78-4C18-88E5-AA04994C90E5}" destId="{02703373-102D-47C0-ADA7-A2720502D45B}" srcOrd="4" destOrd="0" presId="urn:microsoft.com/office/officeart/2005/8/layout/chart3"/>
    <dgm:cxn modelId="{E1F196AB-3240-4C34-B563-6B76B7E08B42}" type="presParOf" srcId="{C0119D77-8F78-4C18-88E5-AA04994C90E5}" destId="{56634BB6-AE56-4560-83C3-A82EFDD3BEFA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A215B7-33A2-4F58-BB60-58E1AC71697A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51D40838-A257-4D8C-9043-1D62D6AC7ED9}">
      <dgm:prSet phldrT="[Text]" custT="1"/>
      <dgm:spPr>
        <a:solidFill>
          <a:srgbClr val="00B050"/>
        </a:solidFill>
        <a:ln w="76200">
          <a:solidFill>
            <a:schemeClr val="bg1"/>
          </a:solidFill>
        </a:ln>
      </dgm:spPr>
      <dgm:t>
        <a:bodyPr lIns="360000" tIns="0" rIns="0" bIns="360000"/>
        <a:lstStyle/>
        <a:p>
          <a:r>
            <a:rPr lang="de-DE" sz="2000" dirty="0"/>
            <a:t>Hyper-media</a:t>
          </a:r>
          <a:endParaRPr lang="en-US" sz="2000" dirty="0"/>
        </a:p>
      </dgm:t>
    </dgm:pt>
    <dgm:pt modelId="{33021CB1-B9CD-4A98-BDB7-63BF584612E0}" type="parTrans" cxnId="{A0EACDD9-6961-46FF-B3C8-97E407B141FF}">
      <dgm:prSet/>
      <dgm:spPr/>
      <dgm:t>
        <a:bodyPr/>
        <a:lstStyle/>
        <a:p>
          <a:endParaRPr lang="en-US"/>
        </a:p>
      </dgm:t>
    </dgm:pt>
    <dgm:pt modelId="{2399E371-2135-426E-9034-1F7A6CCD6B03}" type="sibTrans" cxnId="{A0EACDD9-6961-46FF-B3C8-97E407B141FF}">
      <dgm:prSet/>
      <dgm:spPr/>
      <dgm:t>
        <a:bodyPr/>
        <a:lstStyle/>
        <a:p>
          <a:endParaRPr lang="en-US"/>
        </a:p>
      </dgm:t>
    </dgm:pt>
    <dgm:pt modelId="{108051A4-0EBF-4E23-865B-C124981FECCE}">
      <dgm:prSet phldrT="[Text]" custT="1"/>
      <dgm:spPr>
        <a:solidFill>
          <a:srgbClr val="0070C0"/>
        </a:solidFill>
        <a:ln w="76200">
          <a:solidFill>
            <a:schemeClr val="bg1"/>
          </a:solidFill>
        </a:ln>
      </dgm:spPr>
      <dgm:t>
        <a:bodyPr lIns="0" tIns="360000" rIns="0" bIns="0"/>
        <a:lstStyle/>
        <a:p>
          <a:r>
            <a:rPr lang="de-DE" sz="2000" dirty="0"/>
            <a:t>Semantic Annotations</a:t>
          </a:r>
          <a:endParaRPr lang="en-US" sz="2000" dirty="0"/>
        </a:p>
      </dgm:t>
    </dgm:pt>
    <dgm:pt modelId="{E96BA10F-D324-4C04-B374-6D642100405B}" type="parTrans" cxnId="{DFB38E06-D64C-40C0-94A3-8A1FF904ECE0}">
      <dgm:prSet/>
      <dgm:spPr/>
      <dgm:t>
        <a:bodyPr/>
        <a:lstStyle/>
        <a:p>
          <a:endParaRPr lang="en-US"/>
        </a:p>
      </dgm:t>
    </dgm:pt>
    <dgm:pt modelId="{9D9902CB-1F4C-47DB-9C20-820AE794B8F1}" type="sibTrans" cxnId="{DFB38E06-D64C-40C0-94A3-8A1FF904ECE0}">
      <dgm:prSet/>
      <dgm:spPr/>
      <dgm:t>
        <a:bodyPr/>
        <a:lstStyle/>
        <a:p>
          <a:endParaRPr lang="en-US"/>
        </a:p>
      </dgm:t>
    </dgm:pt>
    <dgm:pt modelId="{F454C837-62BD-48A1-B8F3-CA71CEBB874B}">
      <dgm:prSet phldrT="[Text]" custT="1"/>
      <dgm:spPr>
        <a:solidFill>
          <a:srgbClr val="EB780A"/>
        </a:solidFill>
        <a:ln w="76200">
          <a:solidFill>
            <a:schemeClr val="bg1"/>
          </a:solidFill>
        </a:ln>
      </dgm:spPr>
      <dgm:t>
        <a:bodyPr lIns="0" tIns="0" rIns="360000" bIns="360000"/>
        <a:lstStyle/>
        <a:p>
          <a:r>
            <a:rPr lang="de-DE" sz="2000" dirty="0"/>
            <a:t>Data Schemas</a:t>
          </a:r>
          <a:endParaRPr lang="en-US" sz="2000" dirty="0"/>
        </a:p>
      </dgm:t>
    </dgm:pt>
    <dgm:pt modelId="{316B0FAE-A5A2-4A2A-BF36-32DB130C4FD1}" type="parTrans" cxnId="{364086D2-F396-400B-8B76-8DA00D50E006}">
      <dgm:prSet/>
      <dgm:spPr/>
      <dgm:t>
        <a:bodyPr/>
        <a:lstStyle/>
        <a:p>
          <a:endParaRPr lang="en-US"/>
        </a:p>
      </dgm:t>
    </dgm:pt>
    <dgm:pt modelId="{8D83B6BA-C4D6-4D40-9B9E-6C88FD5FBC30}" type="sibTrans" cxnId="{364086D2-F396-400B-8B76-8DA00D50E006}">
      <dgm:prSet/>
      <dgm:spPr/>
      <dgm:t>
        <a:bodyPr/>
        <a:lstStyle/>
        <a:p>
          <a:endParaRPr lang="en-US"/>
        </a:p>
      </dgm:t>
    </dgm:pt>
    <dgm:pt modelId="{C0119D77-8F78-4C18-88E5-AA04994C90E5}" type="pres">
      <dgm:prSet presAssocID="{D5A215B7-33A2-4F58-BB60-58E1AC71697A}" presName="compositeShape" presStyleCnt="0">
        <dgm:presLayoutVars>
          <dgm:chMax val="7"/>
          <dgm:dir/>
          <dgm:resizeHandles val="exact"/>
        </dgm:presLayoutVars>
      </dgm:prSet>
      <dgm:spPr/>
    </dgm:pt>
    <dgm:pt modelId="{70A92324-8C57-4698-BD4E-7ADD22DD3237}" type="pres">
      <dgm:prSet presAssocID="{D5A215B7-33A2-4F58-BB60-58E1AC71697A}" presName="wedge1" presStyleLbl="node1" presStyleIdx="0" presStyleCnt="3" custLinFactNeighborX="-2548" custLinFactNeighborY="1292"/>
      <dgm:spPr/>
      <dgm:t>
        <a:bodyPr/>
        <a:lstStyle/>
        <a:p>
          <a:endParaRPr lang="en-US"/>
        </a:p>
      </dgm:t>
    </dgm:pt>
    <dgm:pt modelId="{BA658E4E-0153-48DA-AE00-6B0B9927BE6F}" type="pres">
      <dgm:prSet presAssocID="{D5A215B7-33A2-4F58-BB60-58E1AC71697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E9C857-F35A-47D2-81EF-0E932A488279}" type="pres">
      <dgm:prSet presAssocID="{D5A215B7-33A2-4F58-BB60-58E1AC71697A}" presName="wedge2" presStyleLbl="node1" presStyleIdx="1" presStyleCnt="3" custLinFactNeighborX="2606" custLinFactNeighborY="-1685"/>
      <dgm:spPr/>
      <dgm:t>
        <a:bodyPr/>
        <a:lstStyle/>
        <a:p>
          <a:endParaRPr lang="en-US"/>
        </a:p>
      </dgm:t>
    </dgm:pt>
    <dgm:pt modelId="{85A48901-82E7-458E-82FE-B7C43028B5F4}" type="pres">
      <dgm:prSet presAssocID="{D5A215B7-33A2-4F58-BB60-58E1AC71697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03373-102D-47C0-ADA7-A2720502D45B}" type="pres">
      <dgm:prSet presAssocID="{D5A215B7-33A2-4F58-BB60-58E1AC71697A}" presName="wedge3" presStyleLbl="node1" presStyleIdx="2" presStyleCnt="3" custLinFactNeighborX="2606" custLinFactNeighborY="-1685"/>
      <dgm:spPr/>
      <dgm:t>
        <a:bodyPr/>
        <a:lstStyle/>
        <a:p>
          <a:endParaRPr lang="en-US"/>
        </a:p>
      </dgm:t>
    </dgm:pt>
    <dgm:pt modelId="{56634BB6-AE56-4560-83C3-A82EFDD3BEFA}" type="pres">
      <dgm:prSet presAssocID="{D5A215B7-33A2-4F58-BB60-58E1AC71697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CA05460-8881-469B-ADA3-727D3F5AD4AD}" type="presOf" srcId="{51D40838-A257-4D8C-9043-1D62D6AC7ED9}" destId="{70A92324-8C57-4698-BD4E-7ADD22DD3237}" srcOrd="0" destOrd="0" presId="urn:microsoft.com/office/officeart/2005/8/layout/chart3"/>
    <dgm:cxn modelId="{625D0E8A-15F6-426C-A9A6-0E2B9E3E96EE}" type="presOf" srcId="{108051A4-0EBF-4E23-865B-C124981FECCE}" destId="{F5E9C857-F35A-47D2-81EF-0E932A488279}" srcOrd="0" destOrd="0" presId="urn:microsoft.com/office/officeart/2005/8/layout/chart3"/>
    <dgm:cxn modelId="{56644E77-B663-42A4-9F02-170CF33ED913}" type="presOf" srcId="{F454C837-62BD-48A1-B8F3-CA71CEBB874B}" destId="{56634BB6-AE56-4560-83C3-A82EFDD3BEFA}" srcOrd="1" destOrd="0" presId="urn:microsoft.com/office/officeart/2005/8/layout/chart3"/>
    <dgm:cxn modelId="{A0EACDD9-6961-46FF-B3C8-97E407B141FF}" srcId="{D5A215B7-33A2-4F58-BB60-58E1AC71697A}" destId="{51D40838-A257-4D8C-9043-1D62D6AC7ED9}" srcOrd="0" destOrd="0" parTransId="{33021CB1-B9CD-4A98-BDB7-63BF584612E0}" sibTransId="{2399E371-2135-426E-9034-1F7A6CCD6B03}"/>
    <dgm:cxn modelId="{BC0E464B-F801-4446-98CA-D71040CEB4B8}" type="presOf" srcId="{108051A4-0EBF-4E23-865B-C124981FECCE}" destId="{85A48901-82E7-458E-82FE-B7C43028B5F4}" srcOrd="1" destOrd="0" presId="urn:microsoft.com/office/officeart/2005/8/layout/chart3"/>
    <dgm:cxn modelId="{3021A169-A92F-42C5-B222-D7B43E6F1A1A}" type="presOf" srcId="{D5A215B7-33A2-4F58-BB60-58E1AC71697A}" destId="{C0119D77-8F78-4C18-88E5-AA04994C90E5}" srcOrd="0" destOrd="0" presId="urn:microsoft.com/office/officeart/2005/8/layout/chart3"/>
    <dgm:cxn modelId="{364086D2-F396-400B-8B76-8DA00D50E006}" srcId="{D5A215B7-33A2-4F58-BB60-58E1AC71697A}" destId="{F454C837-62BD-48A1-B8F3-CA71CEBB874B}" srcOrd="2" destOrd="0" parTransId="{316B0FAE-A5A2-4A2A-BF36-32DB130C4FD1}" sibTransId="{8D83B6BA-C4D6-4D40-9B9E-6C88FD5FBC30}"/>
    <dgm:cxn modelId="{C9A308C6-6BDB-4F45-BF34-CBBF8A2D76D3}" type="presOf" srcId="{51D40838-A257-4D8C-9043-1D62D6AC7ED9}" destId="{BA658E4E-0153-48DA-AE00-6B0B9927BE6F}" srcOrd="1" destOrd="0" presId="urn:microsoft.com/office/officeart/2005/8/layout/chart3"/>
    <dgm:cxn modelId="{DFB38E06-D64C-40C0-94A3-8A1FF904ECE0}" srcId="{D5A215B7-33A2-4F58-BB60-58E1AC71697A}" destId="{108051A4-0EBF-4E23-865B-C124981FECCE}" srcOrd="1" destOrd="0" parTransId="{E96BA10F-D324-4C04-B374-6D642100405B}" sibTransId="{9D9902CB-1F4C-47DB-9C20-820AE794B8F1}"/>
    <dgm:cxn modelId="{6FCC8B0D-8B82-4CFC-9C6E-C2F4FEDFAAA2}" type="presOf" srcId="{F454C837-62BD-48A1-B8F3-CA71CEBB874B}" destId="{02703373-102D-47C0-ADA7-A2720502D45B}" srcOrd="0" destOrd="0" presId="urn:microsoft.com/office/officeart/2005/8/layout/chart3"/>
    <dgm:cxn modelId="{A9932455-3C7A-4B3B-BDB0-8D0DFFFF1EE1}" type="presParOf" srcId="{C0119D77-8F78-4C18-88E5-AA04994C90E5}" destId="{70A92324-8C57-4698-BD4E-7ADD22DD3237}" srcOrd="0" destOrd="0" presId="urn:microsoft.com/office/officeart/2005/8/layout/chart3"/>
    <dgm:cxn modelId="{C9666256-A03D-4578-9C14-BEA11D32664E}" type="presParOf" srcId="{C0119D77-8F78-4C18-88E5-AA04994C90E5}" destId="{BA658E4E-0153-48DA-AE00-6B0B9927BE6F}" srcOrd="1" destOrd="0" presId="urn:microsoft.com/office/officeart/2005/8/layout/chart3"/>
    <dgm:cxn modelId="{C5CCFADB-7C02-423B-B608-67F6C11C6BF7}" type="presParOf" srcId="{C0119D77-8F78-4C18-88E5-AA04994C90E5}" destId="{F5E9C857-F35A-47D2-81EF-0E932A488279}" srcOrd="2" destOrd="0" presId="urn:microsoft.com/office/officeart/2005/8/layout/chart3"/>
    <dgm:cxn modelId="{31CE2F22-6FA5-4017-8033-CABCAF85A940}" type="presParOf" srcId="{C0119D77-8F78-4C18-88E5-AA04994C90E5}" destId="{85A48901-82E7-458E-82FE-B7C43028B5F4}" srcOrd="3" destOrd="0" presId="urn:microsoft.com/office/officeart/2005/8/layout/chart3"/>
    <dgm:cxn modelId="{DA9929D7-977F-4D8C-809B-2D003423F002}" type="presParOf" srcId="{C0119D77-8F78-4C18-88E5-AA04994C90E5}" destId="{02703373-102D-47C0-ADA7-A2720502D45B}" srcOrd="4" destOrd="0" presId="urn:microsoft.com/office/officeart/2005/8/layout/chart3"/>
    <dgm:cxn modelId="{5F2D6A3A-AD48-4509-B266-27882AE3622C}" type="presParOf" srcId="{C0119D77-8F78-4C18-88E5-AA04994C90E5}" destId="{56634BB6-AE56-4560-83C3-A82EFDD3BEFA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A92324-8C57-4698-BD4E-7ADD22DD3237}">
      <dsp:nvSpPr>
        <dsp:cNvPr id="0" name=""/>
        <dsp:cNvSpPr/>
      </dsp:nvSpPr>
      <dsp:spPr>
        <a:xfrm>
          <a:off x="484960" y="354621"/>
          <a:ext cx="3801808" cy="3801808"/>
        </a:xfrm>
        <a:prstGeom prst="pie">
          <a:avLst>
            <a:gd name="adj1" fmla="val 16200000"/>
            <a:gd name="adj2" fmla="val 1800000"/>
          </a:avLst>
        </a:prstGeom>
        <a:solidFill>
          <a:schemeClr val="bg1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0" tIns="0" rIns="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Protocol Bindings</a:t>
          </a:r>
          <a:endParaRPr lang="en-US" sz="2000" kern="1200" dirty="0"/>
        </a:p>
      </dsp:txBody>
      <dsp:txXfrm>
        <a:off x="2551967" y="1056146"/>
        <a:ext cx="1289899" cy="1267269"/>
      </dsp:txXfrm>
    </dsp:sp>
    <dsp:sp modelId="{F5E9C857-F35A-47D2-81EF-0E932A488279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1800000"/>
            <a:gd name="adj2" fmla="val 9000000"/>
          </a:avLst>
        </a:prstGeom>
        <a:solidFill>
          <a:schemeClr val="bg1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6000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Semantic Annotations</a:t>
          </a:r>
          <a:endParaRPr lang="en-US" sz="2000" kern="1200" dirty="0"/>
        </a:p>
      </dsp:txBody>
      <dsp:txXfrm>
        <a:off x="1525902" y="2753351"/>
        <a:ext cx="1719865" cy="1176750"/>
      </dsp:txXfrm>
    </dsp:sp>
    <dsp:sp modelId="{02703373-102D-47C0-ADA7-A2720502D45B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9000000"/>
            <a:gd name="adj2" fmla="val 16200000"/>
          </a:avLst>
        </a:prstGeom>
        <a:solidFill>
          <a:srgbClr val="EB780A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36000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Data Schemas</a:t>
          </a:r>
          <a:endParaRPr lang="en-US" sz="2000" kern="1200" dirty="0"/>
        </a:p>
      </dsp:txBody>
      <dsp:txXfrm>
        <a:off x="892267" y="1101374"/>
        <a:ext cx="1289899" cy="12672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A92324-8C57-4698-BD4E-7ADD22DD3237}">
      <dsp:nvSpPr>
        <dsp:cNvPr id="0" name=""/>
        <dsp:cNvSpPr/>
      </dsp:nvSpPr>
      <dsp:spPr>
        <a:xfrm>
          <a:off x="484960" y="354621"/>
          <a:ext cx="3801808" cy="3801808"/>
        </a:xfrm>
        <a:prstGeom prst="pie">
          <a:avLst>
            <a:gd name="adj1" fmla="val 16200000"/>
            <a:gd name="adj2" fmla="val 1800000"/>
          </a:avLst>
        </a:prstGeom>
        <a:solidFill>
          <a:srgbClr val="00B050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0" tIns="0" rIns="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Hyper-media</a:t>
          </a:r>
          <a:endParaRPr lang="en-US" sz="2000" kern="1200" dirty="0"/>
        </a:p>
      </dsp:txBody>
      <dsp:txXfrm>
        <a:off x="2551967" y="1056146"/>
        <a:ext cx="1289899" cy="1267269"/>
      </dsp:txXfrm>
    </dsp:sp>
    <dsp:sp modelId="{F5E9C857-F35A-47D2-81EF-0E932A488279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1800000"/>
            <a:gd name="adj2" fmla="val 9000000"/>
          </a:avLst>
        </a:prstGeom>
        <a:solidFill>
          <a:schemeClr val="bg1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6000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Semantic Annotations</a:t>
          </a:r>
          <a:endParaRPr lang="en-US" sz="2000" kern="1200" dirty="0"/>
        </a:p>
      </dsp:txBody>
      <dsp:txXfrm>
        <a:off x="1525902" y="2753351"/>
        <a:ext cx="1719865" cy="1176750"/>
      </dsp:txXfrm>
    </dsp:sp>
    <dsp:sp modelId="{02703373-102D-47C0-ADA7-A2720502D45B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9000000"/>
            <a:gd name="adj2" fmla="val 16200000"/>
          </a:avLst>
        </a:prstGeom>
        <a:solidFill>
          <a:srgbClr val="EB780A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36000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Data Schemas</a:t>
          </a:r>
          <a:endParaRPr lang="en-US" sz="2000" kern="1200" dirty="0"/>
        </a:p>
      </dsp:txBody>
      <dsp:txXfrm>
        <a:off x="892267" y="1101374"/>
        <a:ext cx="1289899" cy="12672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A92324-8C57-4698-BD4E-7ADD22DD3237}">
      <dsp:nvSpPr>
        <dsp:cNvPr id="0" name=""/>
        <dsp:cNvSpPr/>
      </dsp:nvSpPr>
      <dsp:spPr>
        <a:xfrm>
          <a:off x="484960" y="354621"/>
          <a:ext cx="3801808" cy="3801808"/>
        </a:xfrm>
        <a:prstGeom prst="pie">
          <a:avLst>
            <a:gd name="adj1" fmla="val 16200000"/>
            <a:gd name="adj2" fmla="val 1800000"/>
          </a:avLst>
        </a:prstGeom>
        <a:solidFill>
          <a:srgbClr val="00B050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0" tIns="0" rIns="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Hyper-media</a:t>
          </a:r>
          <a:endParaRPr lang="en-US" sz="2000" kern="1200" dirty="0"/>
        </a:p>
      </dsp:txBody>
      <dsp:txXfrm>
        <a:off x="2551967" y="1056146"/>
        <a:ext cx="1289899" cy="1267269"/>
      </dsp:txXfrm>
    </dsp:sp>
    <dsp:sp modelId="{F5E9C857-F35A-47D2-81EF-0E932A488279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1800000"/>
            <a:gd name="adj2" fmla="val 9000000"/>
          </a:avLst>
        </a:prstGeom>
        <a:solidFill>
          <a:srgbClr val="0070C0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6000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Semantic Annotations</a:t>
          </a:r>
          <a:endParaRPr lang="en-US" sz="2000" kern="1200" dirty="0"/>
        </a:p>
      </dsp:txBody>
      <dsp:txXfrm>
        <a:off x="1525902" y="2753351"/>
        <a:ext cx="1719865" cy="1176750"/>
      </dsp:txXfrm>
    </dsp:sp>
    <dsp:sp modelId="{02703373-102D-47C0-ADA7-A2720502D45B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9000000"/>
            <a:gd name="adj2" fmla="val 16200000"/>
          </a:avLst>
        </a:prstGeom>
        <a:solidFill>
          <a:srgbClr val="EB780A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36000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Data Schemas</a:t>
          </a:r>
          <a:endParaRPr lang="en-US" sz="2000" kern="1200" dirty="0"/>
        </a:p>
      </dsp:txBody>
      <dsp:txXfrm>
        <a:off x="892267" y="1101374"/>
        <a:ext cx="1289899" cy="126726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A92324-8C57-4698-BD4E-7ADD22DD3237}">
      <dsp:nvSpPr>
        <dsp:cNvPr id="0" name=""/>
        <dsp:cNvSpPr/>
      </dsp:nvSpPr>
      <dsp:spPr>
        <a:xfrm>
          <a:off x="484960" y="354621"/>
          <a:ext cx="3801808" cy="3801808"/>
        </a:xfrm>
        <a:prstGeom prst="pie">
          <a:avLst>
            <a:gd name="adj1" fmla="val 16200000"/>
            <a:gd name="adj2" fmla="val 1800000"/>
          </a:avLst>
        </a:prstGeom>
        <a:solidFill>
          <a:srgbClr val="00B050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0" tIns="0" rIns="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Hyper-media</a:t>
          </a:r>
          <a:endParaRPr lang="en-US" sz="2000" kern="1200" dirty="0"/>
        </a:p>
      </dsp:txBody>
      <dsp:txXfrm>
        <a:off x="2551967" y="1056146"/>
        <a:ext cx="1289899" cy="1267269"/>
      </dsp:txXfrm>
    </dsp:sp>
    <dsp:sp modelId="{F5E9C857-F35A-47D2-81EF-0E932A488279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1800000"/>
            <a:gd name="adj2" fmla="val 9000000"/>
          </a:avLst>
        </a:prstGeom>
        <a:solidFill>
          <a:srgbClr val="0070C0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6000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Semantic Annotations</a:t>
          </a:r>
          <a:endParaRPr lang="en-US" sz="2000" kern="1200" dirty="0"/>
        </a:p>
      </dsp:txBody>
      <dsp:txXfrm>
        <a:off x="1525902" y="2753351"/>
        <a:ext cx="1719865" cy="1176750"/>
      </dsp:txXfrm>
    </dsp:sp>
    <dsp:sp modelId="{02703373-102D-47C0-ADA7-A2720502D45B}">
      <dsp:nvSpPr>
        <dsp:cNvPr id="0" name=""/>
        <dsp:cNvSpPr/>
      </dsp:nvSpPr>
      <dsp:spPr>
        <a:xfrm>
          <a:off x="484931" y="354591"/>
          <a:ext cx="3801808" cy="3801808"/>
        </a:xfrm>
        <a:prstGeom prst="pie">
          <a:avLst>
            <a:gd name="adj1" fmla="val 9000000"/>
            <a:gd name="adj2" fmla="val 16200000"/>
          </a:avLst>
        </a:prstGeom>
        <a:solidFill>
          <a:srgbClr val="EB780A"/>
        </a:solidFill>
        <a:ln w="762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360000" bIns="360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Data Schemas</a:t>
          </a:r>
          <a:endParaRPr lang="en-US" sz="2000" kern="1200" dirty="0"/>
        </a:p>
      </dsp:txBody>
      <dsp:txXfrm>
        <a:off x="892267" y="1101374"/>
        <a:ext cx="1289899" cy="1267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6/2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6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6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6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6/2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6/2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6/2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6/2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6/2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/>
              <a:t>W3C WoT Standardization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4000" dirty="0"/>
              <a:t> W3C WoT Open Day, Munich, Germany, 3 June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4510573"/>
              </p:ext>
            </p:extLst>
          </p:nvPr>
        </p:nvGraphicFramePr>
        <p:xfrm>
          <a:off x="3714428" y="1143000"/>
          <a:ext cx="476949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vation of WoT T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5451104" y="2757910"/>
            <a:ext cx="1296142" cy="1296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4A7B7C"/>
                </a:solidFill>
              </a:rPr>
              <a:t>T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1600200"/>
            <a:ext cx="3888821" cy="24776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JSON Schema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Description</a:t>
            </a:r>
            <a:r>
              <a:rPr lang="en-US" sz="2000" dirty="0"/>
              <a:t> of existing data formats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Validation</a:t>
            </a:r>
            <a:r>
              <a:rPr lang="en-US" sz="2000" dirty="0"/>
              <a:t> of payloads through</a:t>
            </a:r>
            <a:br>
              <a:rPr lang="en-US" sz="2000" dirty="0"/>
            </a:br>
            <a:r>
              <a:rPr lang="en-US" sz="2000" dirty="0"/>
              <a:t>available implementation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Already in use by industry,</a:t>
            </a:r>
            <a:br>
              <a:rPr lang="en-US" sz="2000" dirty="0"/>
            </a:br>
            <a:r>
              <a:rPr lang="en-US" sz="2000" dirty="0"/>
              <a:t>e.g., </a:t>
            </a:r>
            <a:r>
              <a:rPr lang="en-US" sz="2000" dirty="0" err="1"/>
              <a:t>OpenAPI</a:t>
            </a:r>
            <a:r>
              <a:rPr lang="en-US" sz="2000" dirty="0"/>
              <a:t> (</a:t>
            </a:r>
            <a:r>
              <a:rPr lang="en-US" sz="2000" dirty="0" err="1"/>
              <a:t>microservices</a:t>
            </a:r>
            <a:r>
              <a:rPr lang="en-US" sz="2000" dirty="0"/>
              <a:t>),</a:t>
            </a:r>
            <a:br>
              <a:rPr lang="en-US" sz="2000" dirty="0"/>
            </a:br>
            <a:r>
              <a:rPr lang="en-US" sz="2000" dirty="0"/>
              <a:t>Open Connectivity Found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073650" y="1340768"/>
            <a:ext cx="3860159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Web Links and Forms</a:t>
            </a:r>
          </a:p>
          <a:p>
            <a:pPr>
              <a:spcAft>
                <a:spcPts val="600"/>
              </a:spcAft>
            </a:pPr>
            <a:r>
              <a:rPr lang="en-US" sz="2000" b="1" dirty="0" smtClean="0"/>
              <a:t>Uniform </a:t>
            </a:r>
            <a:r>
              <a:rPr lang="en-US" sz="2000" b="1" dirty="0"/>
              <a:t>REST </a:t>
            </a:r>
            <a:r>
              <a:rPr lang="en-US" sz="2000" b="1" dirty="0" smtClean="0"/>
              <a:t>interface</a:t>
            </a:r>
            <a:r>
              <a:rPr lang="en-US" sz="2000" dirty="0" smtClean="0"/>
              <a:t> to describe</a:t>
            </a:r>
            <a:br>
              <a:rPr lang="en-US" sz="2000" dirty="0" smtClean="0"/>
            </a:br>
            <a:r>
              <a:rPr lang="en-US" sz="2000" dirty="0" smtClean="0"/>
              <a:t>IoT </a:t>
            </a:r>
            <a:r>
              <a:rPr lang="en-US" sz="2000" dirty="0"/>
              <a:t>protocol </a:t>
            </a:r>
            <a:r>
              <a:rPr lang="en-US" sz="2000" dirty="0" smtClean="0"/>
              <a:t>bindings applicable to</a:t>
            </a:r>
            <a:br>
              <a:rPr lang="en-US" sz="2000" dirty="0" smtClean="0"/>
            </a:br>
            <a:r>
              <a:rPr lang="en-US" sz="2000" dirty="0" smtClean="0"/>
              <a:t>HTTP </a:t>
            </a:r>
            <a:r>
              <a:rPr lang="en-US" sz="2000" dirty="0"/>
              <a:t>and CoAP, </a:t>
            </a:r>
            <a:r>
              <a:rPr lang="en-US" sz="2000" dirty="0" smtClean="0"/>
              <a:t>but also</a:t>
            </a:r>
            <a:br>
              <a:rPr lang="en-US" sz="2000" dirty="0" smtClean="0"/>
            </a:br>
            <a:r>
              <a:rPr lang="en-US" sz="2000" dirty="0" smtClean="0"/>
              <a:t>MQTT</a:t>
            </a:r>
            <a:r>
              <a:rPr lang="en-US" sz="2000" dirty="0"/>
              <a:t>, Modbus, UA Binary, et al.</a:t>
            </a:r>
          </a:p>
          <a:p>
            <a:pPr>
              <a:spcAft>
                <a:spcPts val="600"/>
              </a:spcAft>
            </a:pPr>
            <a:r>
              <a:rPr lang="en-US" sz="2000" b="1" dirty="0" smtClean="0"/>
              <a:t>URIs </a:t>
            </a:r>
            <a:r>
              <a:rPr lang="en-US" sz="2000" dirty="0" smtClean="0"/>
              <a:t>to identify </a:t>
            </a:r>
            <a:r>
              <a:rPr lang="en-US" sz="2000" dirty="0"/>
              <a:t>the IoT </a:t>
            </a:r>
            <a:r>
              <a:rPr lang="en-US" sz="2000" dirty="0" smtClean="0"/>
              <a:t>protocol</a:t>
            </a:r>
            <a:br>
              <a:rPr lang="en-US" sz="2000" dirty="0" smtClean="0"/>
            </a:br>
            <a:r>
              <a:rPr lang="en-US" sz="2000" dirty="0" smtClean="0"/>
              <a:t>and the target address</a:t>
            </a:r>
            <a:endParaRPr lang="en-US" sz="2000" b="1" dirty="0"/>
          </a:p>
          <a:p>
            <a:pPr>
              <a:spcAft>
                <a:spcPts val="600"/>
              </a:spcAft>
            </a:pPr>
            <a:r>
              <a:rPr lang="en-US" sz="2000" b="1" dirty="0"/>
              <a:t>Media Types</a:t>
            </a:r>
            <a:r>
              <a:rPr lang="en-US" sz="2000" dirty="0" smtClean="0"/>
              <a:t> identify the payload</a:t>
            </a:r>
            <a:br>
              <a:rPr lang="en-US" sz="2000" dirty="0" smtClean="0"/>
            </a:br>
            <a:r>
              <a:rPr lang="en-US" sz="2000" dirty="0" smtClean="0"/>
              <a:t>format (e.g., </a:t>
            </a:r>
            <a:r>
              <a:rPr lang="en-US" sz="1800" dirty="0" smtClean="0">
                <a:latin typeface="Consolas" panose="020B0609020204030204" pitchFamily="49" charset="0"/>
              </a:rPr>
              <a:t>application/</a:t>
            </a:r>
            <a:r>
              <a:rPr lang="en-US" sz="1800" dirty="0" err="1" smtClean="0">
                <a:latin typeface="Consolas" panose="020B0609020204030204" pitchFamily="49" charset="0"/>
              </a:rPr>
              <a:t>json</a:t>
            </a:r>
            <a:r>
              <a:rPr lang="en-US" sz="2000" dirty="0" smtClean="0"/>
              <a:t>)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71093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6190905"/>
              </p:ext>
            </p:extLst>
          </p:nvPr>
        </p:nvGraphicFramePr>
        <p:xfrm>
          <a:off x="3714428" y="1143000"/>
          <a:ext cx="476949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vation of WoT T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5451104" y="2757910"/>
            <a:ext cx="1296142" cy="1296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4A7B7C"/>
                </a:solidFill>
              </a:rPr>
              <a:t>T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1600200"/>
            <a:ext cx="3888821" cy="24776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JSON Schema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Description</a:t>
            </a:r>
            <a:r>
              <a:rPr lang="en-US" sz="2000" dirty="0"/>
              <a:t> of existing data formats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Validation</a:t>
            </a:r>
            <a:r>
              <a:rPr lang="en-US" sz="2000" dirty="0"/>
              <a:t> of payloads through</a:t>
            </a:r>
            <a:br>
              <a:rPr lang="en-US" sz="2000" dirty="0"/>
            </a:br>
            <a:r>
              <a:rPr lang="en-US" sz="2000" dirty="0"/>
              <a:t>available implementation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Already in use by industry,</a:t>
            </a:r>
            <a:br>
              <a:rPr lang="en-US" sz="2000" dirty="0"/>
            </a:br>
            <a:r>
              <a:rPr lang="en-US" sz="2000" dirty="0"/>
              <a:t>e.g., </a:t>
            </a:r>
            <a:r>
              <a:rPr lang="en-US" sz="2000" dirty="0" err="1"/>
              <a:t>OpenAPI</a:t>
            </a:r>
            <a:r>
              <a:rPr lang="en-US" sz="2000" dirty="0"/>
              <a:t> (</a:t>
            </a:r>
            <a:r>
              <a:rPr lang="en-US" sz="2000" dirty="0" err="1"/>
              <a:t>microservices</a:t>
            </a:r>
            <a:r>
              <a:rPr lang="en-US" sz="2000" dirty="0"/>
              <a:t>),</a:t>
            </a:r>
            <a:br>
              <a:rPr lang="en-US" sz="2000" dirty="0"/>
            </a:br>
            <a:r>
              <a:rPr lang="en-US" sz="2000" dirty="0"/>
              <a:t>Open Connectivity Found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34879" y="4947346"/>
            <a:ext cx="7954229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JSON-LD 1.1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Linked Data </a:t>
            </a:r>
            <a:r>
              <a:rPr lang="en-US" sz="2000" dirty="0"/>
              <a:t>and </a:t>
            </a:r>
            <a:r>
              <a:rPr lang="en-US" sz="2000" b="1" dirty="0" smtClean="0"/>
              <a:t>reasoning </a:t>
            </a:r>
            <a:r>
              <a:rPr lang="en-US" sz="2000" dirty="0" smtClean="0"/>
              <a:t>makes </a:t>
            </a:r>
            <a:r>
              <a:rPr lang="en-US" sz="2000" dirty="0"/>
              <a:t>TDs </a:t>
            </a:r>
            <a:r>
              <a:rPr lang="en-US" sz="2000" dirty="0" smtClean="0"/>
              <a:t>machine-understandable</a:t>
            </a:r>
          </a:p>
          <a:p>
            <a:pPr>
              <a:spcAft>
                <a:spcPts val="600"/>
              </a:spcAft>
            </a:pPr>
            <a:r>
              <a:rPr lang="en-US" sz="2000" dirty="0" smtClean="0"/>
              <a:t>Agree </a:t>
            </a:r>
            <a:r>
              <a:rPr lang="en-US" sz="2000" dirty="0"/>
              <a:t>on </a:t>
            </a:r>
            <a:r>
              <a:rPr lang="en-US" sz="2000" b="1" dirty="0"/>
              <a:t>semantic meaning </a:t>
            </a:r>
            <a:r>
              <a:rPr lang="en-US" sz="2000" dirty="0"/>
              <a:t>through controlled vocabularies</a:t>
            </a:r>
          </a:p>
          <a:p>
            <a:r>
              <a:rPr lang="en-US" sz="2000" dirty="0"/>
              <a:t>Reuse Semantic Web vocabularies and ontologies such as SAREF or </a:t>
            </a:r>
            <a:r>
              <a:rPr lang="en-US" sz="2000" dirty="0" err="1"/>
              <a:t>eCl@ss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>and JSON-LD implementations </a:t>
            </a:r>
            <a:r>
              <a:rPr lang="en-US" sz="2000" dirty="0" smtClean="0"/>
              <a:t>for knowledge graphs</a:t>
            </a:r>
            <a:endParaRPr lang="en-US" sz="2000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91E9EDD-23AC-4032-8C97-775B9B93CA45}"/>
              </a:ext>
            </a:extLst>
          </p:cNvPr>
          <p:cNvSpPr txBox="1"/>
          <p:nvPr/>
        </p:nvSpPr>
        <p:spPr>
          <a:xfrm>
            <a:off x="8073650" y="1340768"/>
            <a:ext cx="3860159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Web Links and Forms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Uniform REST interface</a:t>
            </a:r>
            <a:r>
              <a:rPr lang="en-US" sz="2000" dirty="0"/>
              <a:t> to describe</a:t>
            </a:r>
            <a:br>
              <a:rPr lang="en-US" sz="2000" dirty="0"/>
            </a:br>
            <a:r>
              <a:rPr lang="en-US" sz="2000" dirty="0"/>
              <a:t>IoT protocol bindings applicable to</a:t>
            </a:r>
            <a:br>
              <a:rPr lang="en-US" sz="2000" dirty="0"/>
            </a:br>
            <a:r>
              <a:rPr lang="en-US" sz="2000" dirty="0"/>
              <a:t>HTTP and CoAP, but also</a:t>
            </a:r>
            <a:br>
              <a:rPr lang="en-US" sz="2000" dirty="0"/>
            </a:br>
            <a:r>
              <a:rPr lang="en-US" sz="2000" dirty="0"/>
              <a:t>MQTT, Modbus, UA Binary, et al.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URIs </a:t>
            </a:r>
            <a:r>
              <a:rPr lang="en-US" sz="2000" dirty="0"/>
              <a:t>to identify the IoT protocol</a:t>
            </a:r>
            <a:br>
              <a:rPr lang="en-US" sz="2000" dirty="0"/>
            </a:br>
            <a:r>
              <a:rPr lang="en-US" sz="2000" dirty="0"/>
              <a:t>and the target address</a:t>
            </a:r>
            <a:endParaRPr lang="en-US" sz="2000" b="1" dirty="0"/>
          </a:p>
          <a:p>
            <a:pPr>
              <a:spcAft>
                <a:spcPts val="600"/>
              </a:spcAft>
            </a:pPr>
            <a:r>
              <a:rPr lang="en-US" sz="2000" b="1" dirty="0"/>
              <a:t>Media Types</a:t>
            </a:r>
            <a:r>
              <a:rPr lang="en-US" sz="2000" dirty="0"/>
              <a:t> identify the payload</a:t>
            </a:r>
            <a:br>
              <a:rPr lang="en-US" sz="2000" dirty="0"/>
            </a:br>
            <a:r>
              <a:rPr lang="en-US" sz="2000" dirty="0"/>
              <a:t>format (e.g., </a:t>
            </a:r>
            <a:r>
              <a:rPr lang="en-US" sz="1800" dirty="0">
                <a:latin typeface="Consolas" panose="020B0609020204030204" pitchFamily="49" charset="0"/>
              </a:rPr>
              <a:t>application/</a:t>
            </a:r>
            <a:r>
              <a:rPr lang="en-US" sz="1800" dirty="0" err="1">
                <a:latin typeface="Consolas" panose="020B0609020204030204" pitchFamily="49" charset="0"/>
              </a:rPr>
              <a:t>json</a:t>
            </a:r>
            <a:r>
              <a:rPr lang="en-US" sz="2000" dirty="0"/>
              <a:t>)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59197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ex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714428" y="1143000"/>
            <a:ext cx="4769495" cy="4525963"/>
            <a:chOff x="3714428" y="1143000"/>
            <a:chExt cx="4769495" cy="4525963"/>
          </a:xfrm>
        </p:grpSpPr>
        <p:graphicFrame>
          <p:nvGraphicFramePr>
            <p:cNvPr id="10" name="Content Placeholder 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1664457"/>
                </p:ext>
              </p:extLst>
            </p:nvPr>
          </p:nvGraphicFramePr>
          <p:xfrm>
            <a:off x="3714428" y="1143000"/>
            <a:ext cx="4769495" cy="452596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Oval 10"/>
            <p:cNvSpPr/>
            <p:nvPr/>
          </p:nvSpPr>
          <p:spPr>
            <a:xfrm>
              <a:off x="5451104" y="2757910"/>
              <a:ext cx="1296142" cy="12961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rgbClr val="4A7B7C"/>
                  </a:solidFill>
                </a:rPr>
                <a:t>TD</a:t>
              </a:r>
            </a:p>
          </p:txBody>
        </p:sp>
      </p:grpSp>
      <p:sp>
        <p:nvSpPr>
          <p:cNvPr id="13" name="Content Placeholder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955159" y="1423230"/>
            <a:ext cx="5633274" cy="4505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Propagate this innovation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W3C WoT is promoting TD in other consortia and seeks new collaborations and wider participation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e.g., a new alliance envisions </a:t>
            </a:r>
            <a:r>
              <a:rPr lang="en-US" sz="2000" i="1" dirty="0"/>
              <a:t>one data model</a:t>
            </a:r>
            <a:r>
              <a:rPr lang="en-US" sz="2000" dirty="0"/>
              <a:t>,</a:t>
            </a:r>
            <a:br>
              <a:rPr lang="en-US" sz="2000" dirty="0"/>
            </a:br>
            <a:r>
              <a:rPr lang="en-US" sz="2000" dirty="0"/>
              <a:t>which W3C WoT started to implement 2.5 years ago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Grow semantic vocabularies</a:t>
            </a:r>
          </a:p>
          <a:p>
            <a:pPr>
              <a:spcAft>
                <a:spcPts val="600"/>
              </a:spcAft>
            </a:pPr>
            <a:r>
              <a:rPr lang="de-DE" sz="2000" dirty="0"/>
              <a:t>A W3C Community Group was formed to develop the necessary </a:t>
            </a:r>
            <a:r>
              <a:rPr lang="de-DE" sz="2000" i="1" dirty="0"/>
              <a:t>IoT extensions for schema.org 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Gain more implementation and field experience</a:t>
            </a:r>
          </a:p>
          <a:p>
            <a:r>
              <a:rPr lang="en-US" sz="2000" dirty="0"/>
              <a:t>Establish the WoT building blocks in the verticals and leverage the network effect to foster</a:t>
            </a:r>
          </a:p>
          <a:p>
            <a:pPr>
              <a:lnSpc>
                <a:spcPct val="80000"/>
              </a:lnSpc>
            </a:pPr>
            <a:r>
              <a:rPr lang="en-US" sz="4700" i="1" dirty="0"/>
              <a:t>convergence in the IoT</a:t>
            </a:r>
          </a:p>
        </p:txBody>
      </p:sp>
    </p:spTree>
    <p:extLst>
      <p:ext uri="{BB962C8B-B14F-4D97-AF65-F5344CB8AC3E}">
        <p14:creationId xmlns:p14="http://schemas.microsoft.com/office/powerpoint/2010/main" val="45495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22222E-6 L -0.25377 0.00347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689" y="16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3C </a:t>
            </a:r>
            <a:r>
              <a:rPr lang="de-DE" dirty="0" smtClean="0"/>
              <a:t>WoT Standardization</a:t>
            </a:r>
            <a:endParaRPr lang="en-US" dirty="0"/>
          </a:p>
        </p:txBody>
      </p:sp>
      <p:sp>
        <p:nvSpPr>
          <p:cNvPr id="73" name="Content Placeholder 7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de-DE" sz="2000" dirty="0"/>
              <a:t>W3C WoT provides four </a:t>
            </a:r>
            <a:r>
              <a:rPr lang="de-DE" sz="2000" b="1" dirty="0"/>
              <a:t>building blocks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/>
              <a:t>to </a:t>
            </a:r>
            <a:r>
              <a:rPr lang="de-DE" sz="2000" b="1" dirty="0"/>
              <a:t>describe</a:t>
            </a:r>
            <a:r>
              <a:rPr lang="de-DE" sz="2000" dirty="0"/>
              <a:t> IoT devices and services and to </a:t>
            </a:r>
            <a:r>
              <a:rPr lang="de-DE" sz="2000" b="1" dirty="0"/>
              <a:t>complement existing </a:t>
            </a:r>
            <a:r>
              <a:rPr lang="de-DE" sz="2000" dirty="0"/>
              <a:t>platforms and standards</a:t>
            </a:r>
          </a:p>
          <a:p>
            <a:pPr lvl="1">
              <a:spcAft>
                <a:spcPts val="1200"/>
              </a:spcAft>
            </a:pPr>
            <a:r>
              <a:rPr lang="de-DE" b="1" dirty="0"/>
              <a:t>WoT Thing Description</a:t>
            </a:r>
          </a:p>
          <a:p>
            <a:pPr lvl="1">
              <a:spcAft>
                <a:spcPts val="1200"/>
              </a:spcAft>
            </a:pPr>
            <a:r>
              <a:rPr lang="de-DE" b="1" dirty="0"/>
              <a:t>WoT Binding Templates</a:t>
            </a:r>
          </a:p>
          <a:p>
            <a:pPr lvl="1">
              <a:spcAft>
                <a:spcPts val="1200"/>
              </a:spcAft>
            </a:pPr>
            <a:r>
              <a:rPr lang="de-DE" b="1" dirty="0"/>
              <a:t>WoT Scripting API</a:t>
            </a:r>
          </a:p>
          <a:p>
            <a:pPr lvl="1">
              <a:spcAft>
                <a:spcPts val="1200"/>
              </a:spcAft>
            </a:pPr>
            <a:r>
              <a:rPr lang="de-DE" b="1" dirty="0"/>
              <a:t>WoT Security and Privacy Guidelines</a:t>
            </a:r>
          </a:p>
        </p:txBody>
      </p:sp>
      <p:sp>
        <p:nvSpPr>
          <p:cNvPr id="75" name="Content Placeholder 74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de-DE" sz="2000" b="1" dirty="0"/>
              <a:t>WoT Thing Description </a:t>
            </a:r>
            <a:r>
              <a:rPr lang="de-DE" sz="2000" dirty="0"/>
              <a:t>combines three</a:t>
            </a:r>
            <a:br>
              <a:rPr lang="de-DE" sz="2000" dirty="0"/>
            </a:br>
            <a:r>
              <a:rPr lang="de-DE" sz="2000" dirty="0"/>
              <a:t>distinct, complementary technologies to</a:t>
            </a:r>
            <a:br>
              <a:rPr lang="de-DE" sz="2000" dirty="0"/>
            </a:br>
            <a:r>
              <a:rPr lang="de-DE" sz="2000" dirty="0"/>
              <a:t>enable </a:t>
            </a:r>
            <a:r>
              <a:rPr lang="de-DE" sz="2000" b="1" dirty="0"/>
              <a:t>semantic interoperability </a:t>
            </a:r>
            <a:r>
              <a:rPr lang="de-DE" sz="2000" dirty="0"/>
              <a:t>for the IoT</a:t>
            </a:r>
          </a:p>
          <a:p>
            <a:pPr lvl="1">
              <a:spcAft>
                <a:spcPts val="700"/>
              </a:spcAft>
            </a:pPr>
            <a:r>
              <a:rPr lang="en-US" b="1" dirty="0"/>
              <a:t>Data schemas </a:t>
            </a:r>
            <a:r>
              <a:rPr lang="en-US" dirty="0"/>
              <a:t>to describe and validate what data a Thing provides and accepts</a:t>
            </a:r>
          </a:p>
          <a:p>
            <a:pPr lvl="1">
              <a:spcAft>
                <a:spcPts val="700"/>
              </a:spcAft>
            </a:pPr>
            <a:r>
              <a:rPr lang="en-US" b="1" dirty="0"/>
              <a:t>Hypermedia controls </a:t>
            </a:r>
            <a:r>
              <a:rPr lang="en-US" dirty="0"/>
              <a:t>to describe</a:t>
            </a:r>
            <a:br>
              <a:rPr lang="en-US" dirty="0"/>
            </a:br>
            <a:r>
              <a:rPr lang="en-US" dirty="0"/>
              <a:t>how to interact and what else is related</a:t>
            </a:r>
          </a:p>
          <a:p>
            <a:pPr lvl="1">
              <a:spcAft>
                <a:spcPts val="700"/>
              </a:spcAft>
            </a:pPr>
            <a:r>
              <a:rPr lang="en-US" b="1" dirty="0"/>
              <a:t>Semantic annotations </a:t>
            </a:r>
            <a:r>
              <a:rPr lang="en-US" dirty="0"/>
              <a:t>to enable clear,</a:t>
            </a:r>
            <a:br>
              <a:rPr lang="en-US" dirty="0"/>
            </a:br>
            <a:r>
              <a:rPr lang="en-US" dirty="0"/>
              <a:t>machine-understandable metadat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  <p:grpSp>
        <p:nvGrpSpPr>
          <p:cNvPr id="136" name="Group 135"/>
          <p:cNvGrpSpPr/>
          <p:nvPr/>
        </p:nvGrpSpPr>
        <p:grpSpPr>
          <a:xfrm>
            <a:off x="3531554" y="4941191"/>
            <a:ext cx="5147145" cy="1934565"/>
            <a:chOff x="3531554" y="2627910"/>
            <a:chExt cx="5147145" cy="1934565"/>
          </a:xfrm>
        </p:grpSpPr>
        <p:sp>
          <p:nvSpPr>
            <p:cNvPr id="137" name="Rectangle 136"/>
            <p:cNvSpPr/>
            <p:nvPr/>
          </p:nvSpPr>
          <p:spPr>
            <a:xfrm>
              <a:off x="3939946" y="4124327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7554607" y="4137013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Trapezoid 138"/>
            <p:cNvSpPr/>
            <p:nvPr/>
          </p:nvSpPr>
          <p:spPr>
            <a:xfrm>
              <a:off x="3860125" y="3738563"/>
              <a:ext cx="140314" cy="172622"/>
            </a:xfrm>
            <a:prstGeom prst="trapezoid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Trapezoid 139"/>
            <p:cNvSpPr/>
            <p:nvPr/>
          </p:nvSpPr>
          <p:spPr>
            <a:xfrm>
              <a:off x="4152371" y="3738563"/>
              <a:ext cx="140314" cy="172622"/>
            </a:xfrm>
            <a:prstGeom prst="trapezoid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444617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4736863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5029109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7569395" y="2627910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4478925" y="2628277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5954854" y="2969512"/>
              <a:ext cx="1098710" cy="108000"/>
            </a:xfrm>
            <a:prstGeom prst="rect">
              <a:avLst/>
            </a:prstGeom>
            <a:solidFill>
              <a:srgbClr val="355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4207927" y="3919200"/>
              <a:ext cx="4470772" cy="251088"/>
            </a:xfrm>
            <a:prstGeom prst="roundRect">
              <a:avLst>
                <a:gd name="adj" fmla="val 50000"/>
              </a:avLst>
            </a:prstGeom>
            <a:solidFill>
              <a:srgbClr val="646E7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696" y="3057779"/>
              <a:ext cx="913026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Round Same Side Corner Rectangle 148"/>
            <p:cNvSpPr/>
            <p:nvPr/>
          </p:nvSpPr>
          <p:spPr>
            <a:xfrm>
              <a:off x="6318405" y="3361157"/>
              <a:ext cx="735159" cy="895109"/>
            </a:xfrm>
            <a:prstGeom prst="round2Same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3531554" y="3919200"/>
              <a:ext cx="4407533" cy="251088"/>
            </a:xfrm>
            <a:prstGeom prst="roundRect">
              <a:avLst>
                <a:gd name="adj" fmla="val 50000"/>
              </a:avLst>
            </a:prstGeom>
            <a:solidFill>
              <a:srgbClr val="7D879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5188551" y="2969511"/>
              <a:ext cx="938220" cy="108000"/>
            </a:xfrm>
            <a:prstGeom prst="rect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6652966" y="3619235"/>
              <a:ext cx="331758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6500566" y="3619236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7467327" y="3446208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Oval 154"/>
            <p:cNvSpPr/>
            <p:nvPr/>
          </p:nvSpPr>
          <p:spPr>
            <a:xfrm>
              <a:off x="4712089" y="3394021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6" name="Straight Connector 155"/>
            <p:cNvCxnSpPr>
              <a:stCxn id="161" idx="5"/>
            </p:cNvCxnSpPr>
            <p:nvPr/>
          </p:nvCxnSpPr>
          <p:spPr>
            <a:xfrm>
              <a:off x="7420277" y="3370294"/>
              <a:ext cx="177498" cy="217456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Oval 156"/>
            <p:cNvSpPr/>
            <p:nvPr/>
          </p:nvSpPr>
          <p:spPr>
            <a:xfrm>
              <a:off x="7838946" y="3228227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8" name="Straight Connector 157"/>
            <p:cNvCxnSpPr>
              <a:endCxn id="157" idx="1"/>
            </p:cNvCxnSpPr>
            <p:nvPr/>
          </p:nvCxnSpPr>
          <p:spPr>
            <a:xfrm>
              <a:off x="7755359" y="3142968"/>
              <a:ext cx="107186" cy="108858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9" name="Group 158"/>
            <p:cNvGrpSpPr/>
            <p:nvPr/>
          </p:nvGrpSpPr>
          <p:grpSpPr>
            <a:xfrm>
              <a:off x="7445877" y="2823583"/>
              <a:ext cx="391052" cy="391052"/>
              <a:chOff x="4358988" y="2736263"/>
              <a:chExt cx="624894" cy="624894"/>
            </a:xfrm>
          </p:grpSpPr>
          <p:sp>
            <p:nvSpPr>
              <p:cNvPr id="204" name="Pie 203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tangle 204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60" name="Straight Connector 159"/>
            <p:cNvCxnSpPr/>
            <p:nvPr/>
          </p:nvCxnSpPr>
          <p:spPr>
            <a:xfrm flipV="1">
              <a:off x="7388225" y="3140970"/>
              <a:ext cx="151110" cy="14515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Oval 160"/>
            <p:cNvSpPr/>
            <p:nvPr/>
          </p:nvSpPr>
          <p:spPr>
            <a:xfrm>
              <a:off x="7282735" y="3232752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2" name="Straight Connector 161"/>
            <p:cNvCxnSpPr/>
            <p:nvPr/>
          </p:nvCxnSpPr>
          <p:spPr>
            <a:xfrm flipH="1">
              <a:off x="7836929" y="3375025"/>
              <a:ext cx="68821" cy="19540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Rectangle 162"/>
            <p:cNvSpPr/>
            <p:nvPr/>
          </p:nvSpPr>
          <p:spPr>
            <a:xfrm>
              <a:off x="7755359" y="3446207"/>
              <a:ext cx="196126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4" name="Straight Connector 163"/>
            <p:cNvCxnSpPr>
              <a:stCxn id="203" idx="2"/>
            </p:cNvCxnSpPr>
            <p:nvPr/>
          </p:nvCxnSpPr>
          <p:spPr>
            <a:xfrm>
              <a:off x="4554514" y="3023014"/>
              <a:ext cx="201785" cy="38872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5" name="Group 164"/>
            <p:cNvGrpSpPr/>
            <p:nvPr/>
          </p:nvGrpSpPr>
          <p:grpSpPr>
            <a:xfrm>
              <a:off x="4358988" y="2823583"/>
              <a:ext cx="391052" cy="391052"/>
              <a:chOff x="4358988" y="2736263"/>
              <a:chExt cx="624894" cy="624894"/>
            </a:xfrm>
          </p:grpSpPr>
          <p:sp>
            <p:nvSpPr>
              <p:cNvPr id="202" name="Pie 201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Rectangle 202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6" name="Explosion 1 165"/>
            <p:cNvSpPr/>
            <p:nvPr/>
          </p:nvSpPr>
          <p:spPr>
            <a:xfrm>
              <a:off x="4531620" y="3590496"/>
              <a:ext cx="125501" cy="270552"/>
            </a:xfrm>
            <a:prstGeom prst="irregularSeal1">
              <a:avLst/>
            </a:prstGeom>
            <a:solidFill>
              <a:srgbClr val="66CCFF"/>
            </a:solidFill>
            <a:ln w="1270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7" name="Straight Connector 166"/>
            <p:cNvCxnSpPr/>
            <p:nvPr/>
          </p:nvCxnSpPr>
          <p:spPr>
            <a:xfrm flipV="1">
              <a:off x="4622581" y="3532849"/>
              <a:ext cx="138485" cy="16871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Oval 167"/>
            <p:cNvSpPr/>
            <p:nvPr/>
          </p:nvSpPr>
          <p:spPr>
            <a:xfrm>
              <a:off x="361337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Oval 168"/>
            <p:cNvSpPr/>
            <p:nvPr/>
          </p:nvSpPr>
          <p:spPr>
            <a:xfrm>
              <a:off x="385646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Oval 169"/>
            <p:cNvSpPr/>
            <p:nvPr/>
          </p:nvSpPr>
          <p:spPr>
            <a:xfrm>
              <a:off x="409955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Oval 170"/>
            <p:cNvSpPr/>
            <p:nvPr/>
          </p:nvSpPr>
          <p:spPr>
            <a:xfrm>
              <a:off x="434263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Oval 171"/>
            <p:cNvSpPr/>
            <p:nvPr/>
          </p:nvSpPr>
          <p:spPr>
            <a:xfrm>
              <a:off x="458572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Oval 172"/>
            <p:cNvSpPr/>
            <p:nvPr/>
          </p:nvSpPr>
          <p:spPr>
            <a:xfrm>
              <a:off x="482880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Oval 173"/>
            <p:cNvSpPr/>
            <p:nvPr/>
          </p:nvSpPr>
          <p:spPr>
            <a:xfrm>
              <a:off x="507189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Oval 174"/>
            <p:cNvSpPr/>
            <p:nvPr/>
          </p:nvSpPr>
          <p:spPr>
            <a:xfrm>
              <a:off x="628732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Oval 175"/>
            <p:cNvSpPr/>
            <p:nvPr/>
          </p:nvSpPr>
          <p:spPr>
            <a:xfrm>
              <a:off x="653041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Oval 176"/>
            <p:cNvSpPr/>
            <p:nvPr/>
          </p:nvSpPr>
          <p:spPr>
            <a:xfrm>
              <a:off x="677349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Oval 177"/>
            <p:cNvSpPr/>
            <p:nvPr/>
          </p:nvSpPr>
          <p:spPr>
            <a:xfrm>
              <a:off x="701658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Oval 178"/>
            <p:cNvSpPr/>
            <p:nvPr/>
          </p:nvSpPr>
          <p:spPr>
            <a:xfrm>
              <a:off x="725966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Oval 179"/>
            <p:cNvSpPr/>
            <p:nvPr/>
          </p:nvSpPr>
          <p:spPr>
            <a:xfrm>
              <a:off x="750275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180"/>
            <p:cNvSpPr/>
            <p:nvPr/>
          </p:nvSpPr>
          <p:spPr>
            <a:xfrm>
              <a:off x="774583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1531" y="3057779"/>
              <a:ext cx="91833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1626" y="3057779"/>
              <a:ext cx="1132071" cy="1504696"/>
            </a:xfrm>
            <a:prstGeom prst="rect">
              <a:avLst/>
            </a:prstGeom>
            <a:solidFill>
              <a:srgbClr val="AFB9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Rectangle 69">
              <a:extLst>
                <a:ext uri="{FF2B5EF4-FFF2-40B4-BE49-F238E27FC236}">
                  <a16:creationId xmlns="" xmlns:a16="http://schemas.microsoft.com/office/drawing/2014/main" id="{249127FE-2651-4390-A5F0-ED53796AA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921" y="3738139"/>
              <a:ext cx="378054" cy="824336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Oval 184"/>
            <p:cNvSpPr/>
            <p:nvPr/>
          </p:nvSpPr>
          <p:spPr>
            <a:xfrm>
              <a:off x="5556917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Oval 185"/>
            <p:cNvSpPr/>
            <p:nvPr/>
          </p:nvSpPr>
          <p:spPr>
            <a:xfrm>
              <a:off x="5896160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5239611" y="3607348"/>
              <a:ext cx="397428" cy="296217"/>
            </a:xfrm>
            <a:prstGeom prst="rect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8" name="Straight Connector 187"/>
            <p:cNvCxnSpPr/>
            <p:nvPr/>
          </p:nvCxnSpPr>
          <p:spPr>
            <a:xfrm>
              <a:off x="5288852" y="3667249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>
              <a:off x="5288852" y="3710682"/>
              <a:ext cx="1116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/>
          </p:nvCxnSpPr>
          <p:spPr>
            <a:xfrm>
              <a:off x="5288852" y="3754115"/>
              <a:ext cx="1837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/>
          </p:nvCxnSpPr>
          <p:spPr>
            <a:xfrm>
              <a:off x="5288852" y="3797548"/>
              <a:ext cx="25571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/>
            <p:cNvCxnSpPr/>
            <p:nvPr/>
          </p:nvCxnSpPr>
          <p:spPr>
            <a:xfrm>
              <a:off x="5288852" y="3840981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Oval 192"/>
            <p:cNvSpPr/>
            <p:nvPr/>
          </p:nvSpPr>
          <p:spPr>
            <a:xfrm>
              <a:off x="5959160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Oval 193"/>
            <p:cNvSpPr/>
            <p:nvPr/>
          </p:nvSpPr>
          <p:spPr>
            <a:xfrm>
              <a:off x="5619917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5" name="Straight Connector 194"/>
            <p:cNvCxnSpPr>
              <a:stCxn id="193" idx="7"/>
              <a:endCxn id="186" idx="7"/>
            </p:cNvCxnSpPr>
            <p:nvPr/>
          </p:nvCxnSpPr>
          <p:spPr>
            <a:xfrm flipV="1">
              <a:off x="6005252" y="3298728"/>
              <a:ext cx="44548" cy="445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>
              <a:stCxn id="194" idx="0"/>
              <a:endCxn id="185" idx="0"/>
            </p:cNvCxnSpPr>
            <p:nvPr/>
          </p:nvCxnSpPr>
          <p:spPr>
            <a:xfrm flipV="1">
              <a:off x="5646917" y="3272368"/>
              <a:ext cx="0" cy="63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/>
          </p:nvCxnSpPr>
          <p:spPr>
            <a:xfrm>
              <a:off x="5804479" y="38060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5804479" y="38835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/>
            <p:nvPr/>
          </p:nvCxnSpPr>
          <p:spPr>
            <a:xfrm>
              <a:off x="5804479" y="39609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/>
            <p:cNvCxnSpPr/>
            <p:nvPr/>
          </p:nvCxnSpPr>
          <p:spPr>
            <a:xfrm>
              <a:off x="5804479" y="40384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/>
            <p:cNvCxnSpPr/>
            <p:nvPr/>
          </p:nvCxnSpPr>
          <p:spPr>
            <a:xfrm flipH="1">
              <a:off x="5091627" y="4526963"/>
              <a:ext cx="2045095" cy="0"/>
            </a:xfrm>
            <a:prstGeom prst="line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6" name="Textfeld 131"/>
          <p:cNvSpPr txBox="1"/>
          <p:nvPr/>
        </p:nvSpPr>
        <p:spPr>
          <a:xfrm>
            <a:off x="6016083" y="882193"/>
            <a:ext cx="180109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0010101110011011</a:t>
            </a:r>
          </a:p>
        </p:txBody>
      </p:sp>
      <p:sp>
        <p:nvSpPr>
          <p:cNvPr id="209" name="Rectangle 208"/>
          <p:cNvSpPr/>
          <p:nvPr/>
        </p:nvSpPr>
        <p:spPr>
          <a:xfrm>
            <a:off x="1942461" y="6450294"/>
            <a:ext cx="739611" cy="381072"/>
          </a:xfrm>
          <a:prstGeom prst="rect">
            <a:avLst/>
          </a:prstGeom>
          <a:noFill/>
          <a:ln w="76200">
            <a:solidFill>
              <a:srgbClr val="505A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Rectangle 216"/>
          <p:cNvSpPr/>
          <p:nvPr/>
        </p:nvSpPr>
        <p:spPr>
          <a:xfrm>
            <a:off x="342708" y="5282793"/>
            <a:ext cx="1098710" cy="108000"/>
          </a:xfrm>
          <a:prstGeom prst="rect">
            <a:avLst/>
          </a:prstGeom>
          <a:solidFill>
            <a:srgbClr val="355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Rounded Rectangle 217"/>
          <p:cNvSpPr/>
          <p:nvPr/>
        </p:nvSpPr>
        <p:spPr>
          <a:xfrm>
            <a:off x="-525561" y="6232481"/>
            <a:ext cx="3592114" cy="251088"/>
          </a:xfrm>
          <a:prstGeom prst="roundRect">
            <a:avLst>
              <a:gd name="adj" fmla="val 50000"/>
            </a:avLst>
          </a:prstGeom>
          <a:solidFill>
            <a:srgbClr val="646E7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Rectangle 67">
            <a:extLst>
              <a:ext uri="{FF2B5EF4-FFF2-40B4-BE49-F238E27FC236}">
                <a16:creationId xmlns="" xmlns:a16="http://schemas.microsoft.com/office/drawing/2014/main" id="{D2D0F6B7-C28F-4CC6-A623-7788603EA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550" y="5371060"/>
            <a:ext cx="913026" cy="1504696"/>
          </a:xfrm>
          <a:prstGeom prst="rect">
            <a:avLst/>
          </a:prstGeom>
          <a:solidFill>
            <a:srgbClr val="646E7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0" name="Round Same Side Corner Rectangle 219"/>
          <p:cNvSpPr/>
          <p:nvPr/>
        </p:nvSpPr>
        <p:spPr>
          <a:xfrm>
            <a:off x="706259" y="5674438"/>
            <a:ext cx="735159" cy="895109"/>
          </a:xfrm>
          <a:prstGeom prst="round2SameRect">
            <a:avLst/>
          </a:prstGeom>
          <a:solidFill>
            <a:srgbClr val="505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Rounded Rectangle 220"/>
          <p:cNvSpPr/>
          <p:nvPr/>
        </p:nvSpPr>
        <p:spPr>
          <a:xfrm>
            <a:off x="-520520" y="6232481"/>
            <a:ext cx="2847461" cy="251088"/>
          </a:xfrm>
          <a:prstGeom prst="roundRect">
            <a:avLst>
              <a:gd name="adj" fmla="val 50000"/>
            </a:avLst>
          </a:prstGeom>
          <a:solidFill>
            <a:srgbClr val="7D879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Rectangle 221"/>
          <p:cNvSpPr/>
          <p:nvPr/>
        </p:nvSpPr>
        <p:spPr>
          <a:xfrm>
            <a:off x="-423595" y="5282792"/>
            <a:ext cx="938220" cy="108000"/>
          </a:xfrm>
          <a:prstGeom prst="rec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 flipH="1">
            <a:off x="2345290" y="4941191"/>
            <a:ext cx="717352" cy="959840"/>
            <a:chOff x="2482765" y="4941191"/>
            <a:chExt cx="717352" cy="959840"/>
          </a:xfrm>
        </p:grpSpPr>
        <p:sp>
          <p:nvSpPr>
            <p:cNvPr id="215" name="Rectangle 214"/>
            <p:cNvSpPr/>
            <p:nvPr/>
          </p:nvSpPr>
          <p:spPr>
            <a:xfrm>
              <a:off x="2769425" y="4941191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7" name="Straight Connector 226"/>
            <p:cNvCxnSpPr>
              <a:stCxn id="232" idx="5"/>
            </p:cNvCxnSpPr>
            <p:nvPr/>
          </p:nvCxnSpPr>
          <p:spPr>
            <a:xfrm>
              <a:off x="2620307" y="5683575"/>
              <a:ext cx="177498" cy="217456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8" name="Oval 227"/>
            <p:cNvSpPr/>
            <p:nvPr/>
          </p:nvSpPr>
          <p:spPr>
            <a:xfrm>
              <a:off x="3038976" y="5541508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9" name="Straight Connector 228"/>
            <p:cNvCxnSpPr>
              <a:endCxn id="228" idx="1"/>
            </p:cNvCxnSpPr>
            <p:nvPr/>
          </p:nvCxnSpPr>
          <p:spPr>
            <a:xfrm>
              <a:off x="2955389" y="5456249"/>
              <a:ext cx="107186" cy="108858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0" name="Group 229"/>
            <p:cNvGrpSpPr/>
            <p:nvPr/>
          </p:nvGrpSpPr>
          <p:grpSpPr>
            <a:xfrm>
              <a:off x="2645907" y="5136864"/>
              <a:ext cx="391052" cy="391052"/>
              <a:chOff x="4358988" y="2736263"/>
              <a:chExt cx="624894" cy="624894"/>
            </a:xfrm>
          </p:grpSpPr>
          <p:sp>
            <p:nvSpPr>
              <p:cNvPr id="275" name="Pie 274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76" name="Rectangle 275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31" name="Straight Connector 230"/>
            <p:cNvCxnSpPr/>
            <p:nvPr/>
          </p:nvCxnSpPr>
          <p:spPr>
            <a:xfrm flipV="1">
              <a:off x="2588255" y="5454251"/>
              <a:ext cx="151110" cy="14515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Oval 231"/>
            <p:cNvSpPr/>
            <p:nvPr/>
          </p:nvSpPr>
          <p:spPr>
            <a:xfrm>
              <a:off x="2482765" y="5546033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3" name="Straight Connector 232"/>
            <p:cNvCxnSpPr/>
            <p:nvPr/>
          </p:nvCxnSpPr>
          <p:spPr>
            <a:xfrm flipH="1">
              <a:off x="3036959" y="5688306"/>
              <a:ext cx="68821" cy="19540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6" name="Oval 245"/>
          <p:cNvSpPr/>
          <p:nvPr/>
        </p:nvSpPr>
        <p:spPr>
          <a:xfrm>
            <a:off x="675179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7" name="Oval 246"/>
          <p:cNvSpPr/>
          <p:nvPr/>
        </p:nvSpPr>
        <p:spPr>
          <a:xfrm>
            <a:off x="918265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8" name="Oval 247"/>
          <p:cNvSpPr/>
          <p:nvPr/>
        </p:nvSpPr>
        <p:spPr>
          <a:xfrm>
            <a:off x="1161351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Oval 248"/>
          <p:cNvSpPr/>
          <p:nvPr/>
        </p:nvSpPr>
        <p:spPr>
          <a:xfrm>
            <a:off x="1404437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Oval 249"/>
          <p:cNvSpPr/>
          <p:nvPr/>
        </p:nvSpPr>
        <p:spPr>
          <a:xfrm>
            <a:off x="1647523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Oval 250"/>
          <p:cNvSpPr/>
          <p:nvPr/>
        </p:nvSpPr>
        <p:spPr>
          <a:xfrm>
            <a:off x="1890609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Oval 251"/>
          <p:cNvSpPr/>
          <p:nvPr/>
        </p:nvSpPr>
        <p:spPr>
          <a:xfrm>
            <a:off x="2133687" y="6304025"/>
            <a:ext cx="108000" cy="108000"/>
          </a:xfrm>
          <a:prstGeom prst="ellipse">
            <a:avLst/>
          </a:prstGeom>
          <a:solidFill>
            <a:srgbClr val="646E78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Rectangle 67">
            <a:extLst>
              <a:ext uri="{FF2B5EF4-FFF2-40B4-BE49-F238E27FC236}">
                <a16:creationId xmlns="" xmlns:a16="http://schemas.microsoft.com/office/drawing/2014/main" id="{D2D0F6B7-C28F-4CC6-A623-7788603EA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20520" y="5371060"/>
            <a:ext cx="1132071" cy="1504696"/>
          </a:xfrm>
          <a:prstGeom prst="rect">
            <a:avLst/>
          </a:prstGeom>
          <a:solidFill>
            <a:srgbClr val="AFB9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5" name="Rectangle 69">
            <a:extLst>
              <a:ext uri="{FF2B5EF4-FFF2-40B4-BE49-F238E27FC236}">
                <a16:creationId xmlns="" xmlns:a16="http://schemas.microsoft.com/office/drawing/2014/main" id="{249127FE-2651-4390-A5F0-ED53796AA3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775" y="6051420"/>
            <a:ext cx="378054" cy="824336"/>
          </a:xfrm>
          <a:prstGeom prst="rect">
            <a:avLst/>
          </a:prstGeom>
          <a:solidFill>
            <a:srgbClr val="505A6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6" name="Oval 255"/>
          <p:cNvSpPr/>
          <p:nvPr/>
        </p:nvSpPr>
        <p:spPr>
          <a:xfrm>
            <a:off x="-55229" y="5585649"/>
            <a:ext cx="180000" cy="180000"/>
          </a:xfrm>
          <a:prstGeom prst="ellipse">
            <a:avLst/>
          </a:prstGeom>
          <a:solidFill>
            <a:srgbClr val="66CC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Oval 256"/>
          <p:cNvSpPr/>
          <p:nvPr/>
        </p:nvSpPr>
        <p:spPr>
          <a:xfrm>
            <a:off x="284014" y="5585649"/>
            <a:ext cx="180000" cy="180000"/>
          </a:xfrm>
          <a:prstGeom prst="ellipse">
            <a:avLst/>
          </a:prstGeom>
          <a:solidFill>
            <a:srgbClr val="66CC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8" name="Rectangle 257"/>
          <p:cNvSpPr/>
          <p:nvPr/>
        </p:nvSpPr>
        <p:spPr>
          <a:xfrm>
            <a:off x="-372535" y="5920629"/>
            <a:ext cx="397428" cy="296217"/>
          </a:xfrm>
          <a:prstGeom prst="rect">
            <a:avLst/>
          </a:prstGeom>
          <a:solidFill>
            <a:srgbClr val="66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9" name="Straight Connector 258"/>
          <p:cNvCxnSpPr/>
          <p:nvPr/>
        </p:nvCxnSpPr>
        <p:spPr>
          <a:xfrm>
            <a:off x="-323294" y="5980530"/>
            <a:ext cx="2160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/>
        </p:nvCxnSpPr>
        <p:spPr>
          <a:xfrm>
            <a:off x="-323294" y="6067396"/>
            <a:ext cx="1116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>
            <a:off x="-323294" y="6110829"/>
            <a:ext cx="183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/>
          <p:nvPr/>
        </p:nvCxnSpPr>
        <p:spPr>
          <a:xfrm>
            <a:off x="-323294" y="6023963"/>
            <a:ext cx="2557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/>
          <p:nvPr/>
        </p:nvCxnSpPr>
        <p:spPr>
          <a:xfrm>
            <a:off x="-323294" y="6154262"/>
            <a:ext cx="2160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Oval 263"/>
          <p:cNvSpPr/>
          <p:nvPr/>
        </p:nvSpPr>
        <p:spPr>
          <a:xfrm>
            <a:off x="347014" y="5648649"/>
            <a:ext cx="54000" cy="5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Oval 264"/>
          <p:cNvSpPr/>
          <p:nvPr/>
        </p:nvSpPr>
        <p:spPr>
          <a:xfrm>
            <a:off x="7771" y="5648649"/>
            <a:ext cx="54000" cy="5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6" name="Straight Connector 265"/>
          <p:cNvCxnSpPr>
            <a:stCxn id="264" idx="0"/>
            <a:endCxn id="257" idx="0"/>
          </p:cNvCxnSpPr>
          <p:nvPr/>
        </p:nvCxnSpPr>
        <p:spPr>
          <a:xfrm flipV="1">
            <a:off x="374014" y="5585649"/>
            <a:ext cx="0" cy="630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>
            <a:stCxn id="265" idx="1"/>
            <a:endCxn id="256" idx="1"/>
          </p:cNvCxnSpPr>
          <p:nvPr/>
        </p:nvCxnSpPr>
        <p:spPr>
          <a:xfrm flipH="1" flipV="1">
            <a:off x="-28869" y="5612009"/>
            <a:ext cx="44548" cy="445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/>
          <p:cNvCxnSpPr/>
          <p:nvPr/>
        </p:nvCxnSpPr>
        <p:spPr>
          <a:xfrm>
            <a:off x="192333" y="6119337"/>
            <a:ext cx="2669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/>
          <p:cNvCxnSpPr/>
          <p:nvPr/>
        </p:nvCxnSpPr>
        <p:spPr>
          <a:xfrm>
            <a:off x="192333" y="6196787"/>
            <a:ext cx="2669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>
            <a:off x="192333" y="6274237"/>
            <a:ext cx="2669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/>
        </p:nvCxnSpPr>
        <p:spPr>
          <a:xfrm>
            <a:off x="192333" y="6351687"/>
            <a:ext cx="2669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Trapezoid 276"/>
          <p:cNvSpPr/>
          <p:nvPr/>
        </p:nvSpPr>
        <p:spPr>
          <a:xfrm>
            <a:off x="621209" y="6053236"/>
            <a:ext cx="140314" cy="172622"/>
          </a:xfrm>
          <a:prstGeom prst="trapezoid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8" name="Trapezoid 277"/>
          <p:cNvSpPr/>
          <p:nvPr/>
        </p:nvSpPr>
        <p:spPr>
          <a:xfrm>
            <a:off x="913455" y="6053236"/>
            <a:ext cx="140314" cy="172622"/>
          </a:xfrm>
          <a:prstGeom prst="trapezoid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9" name="Trapezoid 278"/>
          <p:cNvSpPr/>
          <p:nvPr/>
        </p:nvSpPr>
        <p:spPr>
          <a:xfrm>
            <a:off x="1205701" y="6053236"/>
            <a:ext cx="140314" cy="172622"/>
          </a:xfrm>
          <a:prstGeom prst="trapezoid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0" name="Trapezoid 279"/>
          <p:cNvSpPr/>
          <p:nvPr/>
        </p:nvSpPr>
        <p:spPr>
          <a:xfrm>
            <a:off x="1497947" y="6053236"/>
            <a:ext cx="140314" cy="172622"/>
          </a:xfrm>
          <a:prstGeom prst="trapezoid">
            <a:avLst/>
          </a:prstGeom>
          <a:solidFill>
            <a:srgbClr val="505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Rectangle 67">
            <a:extLst>
              <a:ext uri="{FF2B5EF4-FFF2-40B4-BE49-F238E27FC236}">
                <a16:creationId xmlns="" xmlns:a16="http://schemas.microsoft.com/office/drawing/2014/main" id="{D2D0F6B7-C28F-4CC6-A623-7788603EA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385" y="5371060"/>
            <a:ext cx="91833" cy="1504696"/>
          </a:xfrm>
          <a:prstGeom prst="rect">
            <a:avLst/>
          </a:prstGeom>
          <a:solidFill>
            <a:srgbClr val="646E7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81" name="Trapezoid 280"/>
          <p:cNvSpPr/>
          <p:nvPr/>
        </p:nvSpPr>
        <p:spPr>
          <a:xfrm>
            <a:off x="1796040" y="6053236"/>
            <a:ext cx="140314" cy="172622"/>
          </a:xfrm>
          <a:prstGeom prst="trapezoid">
            <a:avLst/>
          </a:prstGeom>
          <a:solidFill>
            <a:srgbClr val="505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2" name="Trapezoid 281"/>
          <p:cNvSpPr/>
          <p:nvPr/>
        </p:nvSpPr>
        <p:spPr>
          <a:xfrm>
            <a:off x="2088286" y="6053236"/>
            <a:ext cx="140314" cy="172622"/>
          </a:xfrm>
          <a:prstGeom prst="trapezoid">
            <a:avLst/>
          </a:prstGeom>
          <a:solidFill>
            <a:srgbClr val="505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3" name="Trapezoid 282"/>
          <p:cNvSpPr/>
          <p:nvPr/>
        </p:nvSpPr>
        <p:spPr>
          <a:xfrm>
            <a:off x="2380532" y="6053236"/>
            <a:ext cx="140314" cy="172622"/>
          </a:xfrm>
          <a:prstGeom prst="trapezoid">
            <a:avLst/>
          </a:prstGeom>
          <a:solidFill>
            <a:srgbClr val="505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2" name="Straight Connector 271"/>
          <p:cNvCxnSpPr/>
          <p:nvPr/>
        </p:nvCxnSpPr>
        <p:spPr>
          <a:xfrm flipH="1">
            <a:off x="-520519" y="6840244"/>
            <a:ext cx="2045095" cy="0"/>
          </a:xfrm>
          <a:prstGeom prst="line">
            <a:avLst/>
          </a:prstGeom>
          <a:noFill/>
          <a:ln w="76200">
            <a:solidFill>
              <a:srgbClr val="505A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5" name="Textfeld 131"/>
          <p:cNvSpPr txBox="1"/>
          <p:nvPr/>
        </p:nvSpPr>
        <p:spPr>
          <a:xfrm>
            <a:off x="406828" y="-26634"/>
            <a:ext cx="180109" cy="5539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00101011100110110001001001</a:t>
            </a:r>
          </a:p>
        </p:txBody>
      </p:sp>
      <p:sp>
        <p:nvSpPr>
          <p:cNvPr id="286" name="Textfeld 131"/>
          <p:cNvSpPr txBox="1"/>
          <p:nvPr/>
        </p:nvSpPr>
        <p:spPr>
          <a:xfrm>
            <a:off x="762964" y="5822941"/>
            <a:ext cx="43947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0111011011000111101101011011100010101110011011001</a:t>
            </a:r>
          </a:p>
        </p:txBody>
      </p:sp>
      <p:sp>
        <p:nvSpPr>
          <p:cNvPr id="287" name="Textfeld 131"/>
          <p:cNvSpPr txBox="1"/>
          <p:nvPr/>
        </p:nvSpPr>
        <p:spPr>
          <a:xfrm>
            <a:off x="6370903" y="5821024"/>
            <a:ext cx="59929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rgbClr val="AFB9C3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0110111000101011100110111001110110110001111011010110111000101011111</a:t>
            </a:r>
          </a:p>
        </p:txBody>
      </p:sp>
    </p:spTree>
    <p:extLst>
      <p:ext uri="{BB962C8B-B14F-4D97-AF65-F5344CB8AC3E}">
        <p14:creationId xmlns:p14="http://schemas.microsoft.com/office/powerpoint/2010/main" val="255711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7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build="p"/>
      <p:bldP spid="75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ntac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/>
              <a:t>Dr. Matthias Kovatsch</a:t>
            </a:r>
          </a:p>
          <a:p>
            <a:pPr marL="0" indent="0">
              <a:buNone/>
            </a:pPr>
            <a:r>
              <a:rPr lang="en-US" noProof="0" dirty="0"/>
              <a:t>Principal Researcher</a:t>
            </a:r>
            <a:br>
              <a:rPr lang="en-US" noProof="0" dirty="0"/>
            </a:br>
            <a:r>
              <a:rPr lang="en-US" noProof="0" dirty="0"/>
              <a:t>W3C WoT WG+IG Co-chair</a:t>
            </a:r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Huawei Technologies</a:t>
            </a:r>
          </a:p>
          <a:p>
            <a:pPr marL="0" indent="0">
              <a:buNone/>
            </a:pPr>
            <a:r>
              <a:rPr lang="en-US" noProof="0" dirty="0"/>
              <a:t>German Research Center</a:t>
            </a:r>
          </a:p>
          <a:p>
            <a:pPr marL="0" indent="0">
              <a:buNone/>
            </a:pPr>
            <a:r>
              <a:rPr lang="de-DE" dirty="0"/>
              <a:t>Applied Network Technology Lab</a:t>
            </a:r>
            <a:endParaRPr lang="en-US" noProof="0" dirty="0"/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>
                <a:hlinkClick r:id="rId2"/>
              </a:rPr>
              <a:t>matthias.kovatsch@huawei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net </a:t>
            </a:r>
            <a:r>
              <a:rPr lang="de-DE" dirty="0"/>
              <a:t>of Th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  <p:sp>
        <p:nvSpPr>
          <p:cNvPr id="118" name="TextBox 117"/>
          <p:cNvSpPr txBox="1"/>
          <p:nvPr/>
        </p:nvSpPr>
        <p:spPr>
          <a:xfrm>
            <a:off x="938484" y="5382044"/>
            <a:ext cx="103214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i="1" dirty="0" smtClean="0"/>
              <a:t>Interconnecting devices and </a:t>
            </a:r>
            <a:r>
              <a:rPr lang="de-DE" i="1" dirty="0" smtClean="0"/>
              <a:t>services to blend the physical world and virtual world</a:t>
            </a:r>
            <a:endParaRPr lang="en-US" dirty="0"/>
          </a:p>
        </p:txBody>
      </p:sp>
      <p:sp>
        <p:nvSpPr>
          <p:cNvPr id="122" name="Textfeld 131"/>
          <p:cNvSpPr txBox="1"/>
          <p:nvPr/>
        </p:nvSpPr>
        <p:spPr>
          <a:xfrm>
            <a:off x="6016083" y="2036678"/>
            <a:ext cx="18010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</p:txBody>
      </p:sp>
      <p:sp>
        <p:nvSpPr>
          <p:cNvPr id="123" name="Wolke 92"/>
          <p:cNvSpPr/>
          <p:nvPr/>
        </p:nvSpPr>
        <p:spPr bwMode="auto">
          <a:xfrm rot="10987467">
            <a:off x="5514734" y="1479144"/>
            <a:ext cx="1214326" cy="742278"/>
          </a:xfrm>
          <a:prstGeom prst="cloud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21600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220" name="Group 219"/>
          <p:cNvGrpSpPr/>
          <p:nvPr/>
        </p:nvGrpSpPr>
        <p:grpSpPr>
          <a:xfrm>
            <a:off x="3531554" y="2627910"/>
            <a:ext cx="5147145" cy="1934565"/>
            <a:chOff x="3531554" y="2627910"/>
            <a:chExt cx="5147145" cy="1934565"/>
          </a:xfrm>
        </p:grpSpPr>
        <p:sp>
          <p:nvSpPr>
            <p:cNvPr id="219" name="Rectangle 218"/>
            <p:cNvSpPr/>
            <p:nvPr/>
          </p:nvSpPr>
          <p:spPr>
            <a:xfrm>
              <a:off x="3939946" y="4124327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7554607" y="4137013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3860125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4152371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4444617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4736863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5029109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7569395" y="2627910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4478925" y="2628277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954854" y="2969512"/>
              <a:ext cx="1098710" cy="108000"/>
            </a:xfrm>
            <a:prstGeom prst="rect">
              <a:avLst/>
            </a:prstGeom>
            <a:solidFill>
              <a:srgbClr val="355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ounded Rectangle 96"/>
            <p:cNvSpPr/>
            <p:nvPr/>
          </p:nvSpPr>
          <p:spPr>
            <a:xfrm>
              <a:off x="4207927" y="3919200"/>
              <a:ext cx="4470772" cy="251088"/>
            </a:xfrm>
            <a:prstGeom prst="roundRect">
              <a:avLst>
                <a:gd name="adj" fmla="val 50000"/>
              </a:avLst>
            </a:prstGeom>
            <a:solidFill>
              <a:srgbClr val="646E7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696" y="3057779"/>
              <a:ext cx="913026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Round Same Side Corner Rectangle 97"/>
            <p:cNvSpPr/>
            <p:nvPr/>
          </p:nvSpPr>
          <p:spPr>
            <a:xfrm>
              <a:off x="6318405" y="3361157"/>
              <a:ext cx="735159" cy="895109"/>
            </a:xfrm>
            <a:prstGeom prst="round2Same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3531554" y="3919200"/>
              <a:ext cx="4407533" cy="251088"/>
            </a:xfrm>
            <a:prstGeom prst="roundRect">
              <a:avLst>
                <a:gd name="adj" fmla="val 50000"/>
              </a:avLst>
            </a:prstGeom>
            <a:solidFill>
              <a:srgbClr val="7D879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188551" y="2969511"/>
              <a:ext cx="938220" cy="108000"/>
            </a:xfrm>
            <a:prstGeom prst="rect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6652966" y="3619235"/>
              <a:ext cx="331758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6500566" y="3619236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7467327" y="3446208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Oval 141"/>
            <p:cNvSpPr/>
            <p:nvPr/>
          </p:nvSpPr>
          <p:spPr>
            <a:xfrm>
              <a:off x="4712089" y="3394021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2" name="Straight Connector 151"/>
            <p:cNvCxnSpPr>
              <a:stCxn id="143" idx="5"/>
            </p:cNvCxnSpPr>
            <p:nvPr/>
          </p:nvCxnSpPr>
          <p:spPr>
            <a:xfrm>
              <a:off x="7420277" y="3370294"/>
              <a:ext cx="177498" cy="217456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Oval 143"/>
            <p:cNvSpPr/>
            <p:nvPr/>
          </p:nvSpPr>
          <p:spPr>
            <a:xfrm>
              <a:off x="7838946" y="3228227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7" name="Straight Connector 146"/>
            <p:cNvCxnSpPr>
              <a:endCxn id="144" idx="1"/>
            </p:cNvCxnSpPr>
            <p:nvPr/>
          </p:nvCxnSpPr>
          <p:spPr>
            <a:xfrm>
              <a:off x="7755359" y="3142968"/>
              <a:ext cx="107186" cy="108858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5" name="Group 114"/>
            <p:cNvGrpSpPr/>
            <p:nvPr/>
          </p:nvGrpSpPr>
          <p:grpSpPr>
            <a:xfrm>
              <a:off x="7445877" y="2823583"/>
              <a:ext cx="391052" cy="391052"/>
              <a:chOff x="4358988" y="2736263"/>
              <a:chExt cx="624894" cy="624894"/>
            </a:xfrm>
          </p:grpSpPr>
          <p:sp>
            <p:nvSpPr>
              <p:cNvPr id="116" name="Pie 115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46" name="Straight Connector 145"/>
            <p:cNvCxnSpPr/>
            <p:nvPr/>
          </p:nvCxnSpPr>
          <p:spPr>
            <a:xfrm flipV="1">
              <a:off x="7388225" y="3140970"/>
              <a:ext cx="151110" cy="14515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142"/>
            <p:cNvSpPr/>
            <p:nvPr/>
          </p:nvSpPr>
          <p:spPr>
            <a:xfrm>
              <a:off x="7282735" y="3232752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5" name="Straight Connector 154"/>
            <p:cNvCxnSpPr/>
            <p:nvPr/>
          </p:nvCxnSpPr>
          <p:spPr>
            <a:xfrm flipH="1">
              <a:off x="7836929" y="3375025"/>
              <a:ext cx="68821" cy="19540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Rectangle 124"/>
            <p:cNvSpPr/>
            <p:nvPr/>
          </p:nvSpPr>
          <p:spPr>
            <a:xfrm>
              <a:off x="7755359" y="3446207"/>
              <a:ext cx="196126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9" name="Straight Connector 158"/>
            <p:cNvCxnSpPr>
              <a:stCxn id="99" idx="2"/>
            </p:cNvCxnSpPr>
            <p:nvPr/>
          </p:nvCxnSpPr>
          <p:spPr>
            <a:xfrm>
              <a:off x="4554514" y="3023014"/>
              <a:ext cx="201785" cy="38872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Group 99"/>
            <p:cNvGrpSpPr/>
            <p:nvPr/>
          </p:nvGrpSpPr>
          <p:grpSpPr>
            <a:xfrm>
              <a:off x="4358988" y="2823583"/>
              <a:ext cx="391052" cy="391052"/>
              <a:chOff x="4358988" y="2736263"/>
              <a:chExt cx="624894" cy="624894"/>
            </a:xfrm>
          </p:grpSpPr>
          <p:sp>
            <p:nvSpPr>
              <p:cNvPr id="94" name="Pie 93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0" name="Explosion 1 179"/>
            <p:cNvSpPr/>
            <p:nvPr/>
          </p:nvSpPr>
          <p:spPr>
            <a:xfrm>
              <a:off x="4531620" y="3590496"/>
              <a:ext cx="125501" cy="270552"/>
            </a:xfrm>
            <a:prstGeom prst="irregularSeal1">
              <a:avLst/>
            </a:prstGeom>
            <a:solidFill>
              <a:srgbClr val="66CCFF"/>
            </a:solidFill>
            <a:ln w="1270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7" name="Straight Connector 176"/>
            <p:cNvCxnSpPr/>
            <p:nvPr/>
          </p:nvCxnSpPr>
          <p:spPr>
            <a:xfrm flipV="1">
              <a:off x="4622581" y="3532849"/>
              <a:ext cx="138485" cy="16871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Oval 194"/>
            <p:cNvSpPr/>
            <p:nvPr/>
          </p:nvSpPr>
          <p:spPr>
            <a:xfrm>
              <a:off x="361337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Oval 195"/>
            <p:cNvSpPr/>
            <p:nvPr/>
          </p:nvSpPr>
          <p:spPr>
            <a:xfrm>
              <a:off x="385646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/>
            <p:cNvSpPr/>
            <p:nvPr/>
          </p:nvSpPr>
          <p:spPr>
            <a:xfrm>
              <a:off x="409955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Oval 197"/>
            <p:cNvSpPr/>
            <p:nvPr/>
          </p:nvSpPr>
          <p:spPr>
            <a:xfrm>
              <a:off x="434263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/>
            <p:cNvSpPr/>
            <p:nvPr/>
          </p:nvSpPr>
          <p:spPr>
            <a:xfrm>
              <a:off x="458572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Oval 199"/>
            <p:cNvSpPr/>
            <p:nvPr/>
          </p:nvSpPr>
          <p:spPr>
            <a:xfrm>
              <a:off x="482880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Oval 200"/>
            <p:cNvSpPr/>
            <p:nvPr/>
          </p:nvSpPr>
          <p:spPr>
            <a:xfrm>
              <a:off x="507189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/>
            <p:cNvSpPr/>
            <p:nvPr/>
          </p:nvSpPr>
          <p:spPr>
            <a:xfrm>
              <a:off x="628732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/>
            <p:cNvSpPr/>
            <p:nvPr/>
          </p:nvSpPr>
          <p:spPr>
            <a:xfrm>
              <a:off x="653041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/>
            <p:cNvSpPr/>
            <p:nvPr/>
          </p:nvSpPr>
          <p:spPr>
            <a:xfrm>
              <a:off x="677349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/>
            <p:cNvSpPr/>
            <p:nvPr/>
          </p:nvSpPr>
          <p:spPr>
            <a:xfrm>
              <a:off x="701658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Oval 209"/>
            <p:cNvSpPr/>
            <p:nvPr/>
          </p:nvSpPr>
          <p:spPr>
            <a:xfrm>
              <a:off x="725966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Oval 210"/>
            <p:cNvSpPr/>
            <p:nvPr/>
          </p:nvSpPr>
          <p:spPr>
            <a:xfrm>
              <a:off x="750275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Oval 211"/>
            <p:cNvSpPr/>
            <p:nvPr/>
          </p:nvSpPr>
          <p:spPr>
            <a:xfrm>
              <a:off x="774583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1531" y="3057779"/>
              <a:ext cx="91833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1626" y="3057779"/>
              <a:ext cx="1132071" cy="1504696"/>
            </a:xfrm>
            <a:prstGeom prst="rect">
              <a:avLst/>
            </a:prstGeom>
            <a:solidFill>
              <a:srgbClr val="AFB9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Rectangle 69">
              <a:extLst>
                <a:ext uri="{FF2B5EF4-FFF2-40B4-BE49-F238E27FC236}">
                  <a16:creationId xmlns="" xmlns:a16="http://schemas.microsoft.com/office/drawing/2014/main" id="{249127FE-2651-4390-A5F0-ED53796AA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921" y="3738139"/>
              <a:ext cx="378054" cy="824336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Oval 4"/>
            <p:cNvSpPr/>
            <p:nvPr/>
          </p:nvSpPr>
          <p:spPr>
            <a:xfrm>
              <a:off x="5556917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Oval 94"/>
            <p:cNvSpPr/>
            <p:nvPr/>
          </p:nvSpPr>
          <p:spPr>
            <a:xfrm>
              <a:off x="5896160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5239611" y="3607348"/>
              <a:ext cx="397428" cy="296217"/>
            </a:xfrm>
            <a:prstGeom prst="rect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1" name="Straight Connector 120"/>
            <p:cNvCxnSpPr/>
            <p:nvPr/>
          </p:nvCxnSpPr>
          <p:spPr>
            <a:xfrm>
              <a:off x="5288852" y="3667249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>
              <a:off x="5288852" y="3710682"/>
              <a:ext cx="1116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>
              <a:off x="5288852" y="3754115"/>
              <a:ext cx="1837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>
              <a:off x="5288852" y="3797548"/>
              <a:ext cx="25571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5288852" y="3840981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Oval 133"/>
            <p:cNvSpPr/>
            <p:nvPr/>
          </p:nvSpPr>
          <p:spPr>
            <a:xfrm>
              <a:off x="5959160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Oval 134"/>
            <p:cNvSpPr/>
            <p:nvPr/>
          </p:nvSpPr>
          <p:spPr>
            <a:xfrm>
              <a:off x="5619917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8" name="Straight Connector 137"/>
            <p:cNvCxnSpPr>
              <a:stCxn id="134" idx="7"/>
              <a:endCxn id="95" idx="7"/>
            </p:cNvCxnSpPr>
            <p:nvPr/>
          </p:nvCxnSpPr>
          <p:spPr>
            <a:xfrm flipV="1">
              <a:off x="6005252" y="3298728"/>
              <a:ext cx="44548" cy="445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>
              <a:stCxn id="135" idx="0"/>
              <a:endCxn id="5" idx="0"/>
            </p:cNvCxnSpPr>
            <p:nvPr/>
          </p:nvCxnSpPr>
          <p:spPr>
            <a:xfrm flipV="1">
              <a:off x="5646917" y="3272368"/>
              <a:ext cx="0" cy="63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>
              <a:off x="5804479" y="38060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>
              <a:off x="5804479" y="38835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>
              <a:off x="5804479" y="39609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>
              <a:off x="5804479" y="40384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 flipH="1">
              <a:off x="5091627" y="4526963"/>
              <a:ext cx="2045095" cy="0"/>
            </a:xfrm>
            <a:prstGeom prst="line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124761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ustrial Internet of Th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118" name="TextBox 117"/>
          <p:cNvSpPr txBox="1"/>
          <p:nvPr/>
        </p:nvSpPr>
        <p:spPr>
          <a:xfrm>
            <a:off x="4640363" y="5382044"/>
            <a:ext cx="29176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i="1" dirty="0" smtClean="0"/>
              <a:t>Connecting </a:t>
            </a:r>
            <a:r>
              <a:rPr lang="de-DE" i="1" dirty="0"/>
              <a:t>OT with IT</a:t>
            </a:r>
            <a:endParaRPr lang="en-US" dirty="0"/>
          </a:p>
        </p:txBody>
      </p:sp>
      <p:sp>
        <p:nvSpPr>
          <p:cNvPr id="122" name="Textfeld 131"/>
          <p:cNvSpPr txBox="1"/>
          <p:nvPr/>
        </p:nvSpPr>
        <p:spPr>
          <a:xfrm>
            <a:off x="6016083" y="2036678"/>
            <a:ext cx="18010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</p:txBody>
      </p:sp>
      <p:sp>
        <p:nvSpPr>
          <p:cNvPr id="123" name="Wolke 92"/>
          <p:cNvSpPr/>
          <p:nvPr/>
        </p:nvSpPr>
        <p:spPr bwMode="auto">
          <a:xfrm rot="10987467">
            <a:off x="5514734" y="1479144"/>
            <a:ext cx="1214326" cy="742278"/>
          </a:xfrm>
          <a:prstGeom prst="cloud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21600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220" name="Group 219"/>
          <p:cNvGrpSpPr/>
          <p:nvPr/>
        </p:nvGrpSpPr>
        <p:grpSpPr>
          <a:xfrm>
            <a:off x="3531554" y="2627910"/>
            <a:ext cx="5147145" cy="1934565"/>
            <a:chOff x="3531554" y="2627910"/>
            <a:chExt cx="5147145" cy="1934565"/>
          </a:xfrm>
        </p:grpSpPr>
        <p:sp>
          <p:nvSpPr>
            <p:cNvPr id="219" name="Rectangle 218"/>
            <p:cNvSpPr/>
            <p:nvPr/>
          </p:nvSpPr>
          <p:spPr>
            <a:xfrm>
              <a:off x="3939946" y="4124327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7554607" y="4137013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3860125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4152371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4444617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4736863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5029109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7569395" y="2627910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4478925" y="2628277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954854" y="2969512"/>
              <a:ext cx="1098710" cy="108000"/>
            </a:xfrm>
            <a:prstGeom prst="rect">
              <a:avLst/>
            </a:prstGeom>
            <a:solidFill>
              <a:srgbClr val="355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ounded Rectangle 96"/>
            <p:cNvSpPr/>
            <p:nvPr/>
          </p:nvSpPr>
          <p:spPr>
            <a:xfrm>
              <a:off x="4207927" y="3919200"/>
              <a:ext cx="4470772" cy="251088"/>
            </a:xfrm>
            <a:prstGeom prst="roundRect">
              <a:avLst>
                <a:gd name="adj" fmla="val 50000"/>
              </a:avLst>
            </a:prstGeom>
            <a:solidFill>
              <a:srgbClr val="646E7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696" y="3057779"/>
              <a:ext cx="913026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Round Same Side Corner Rectangle 97"/>
            <p:cNvSpPr/>
            <p:nvPr/>
          </p:nvSpPr>
          <p:spPr>
            <a:xfrm>
              <a:off x="6318405" y="3361157"/>
              <a:ext cx="735159" cy="895109"/>
            </a:xfrm>
            <a:prstGeom prst="round2Same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3531554" y="3919200"/>
              <a:ext cx="4407533" cy="251088"/>
            </a:xfrm>
            <a:prstGeom prst="roundRect">
              <a:avLst>
                <a:gd name="adj" fmla="val 50000"/>
              </a:avLst>
            </a:prstGeom>
            <a:solidFill>
              <a:srgbClr val="7D879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188551" y="2969511"/>
              <a:ext cx="938220" cy="108000"/>
            </a:xfrm>
            <a:prstGeom prst="rect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6652966" y="3619235"/>
              <a:ext cx="331758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6500566" y="3619236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7467327" y="3446208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Oval 141"/>
            <p:cNvSpPr/>
            <p:nvPr/>
          </p:nvSpPr>
          <p:spPr>
            <a:xfrm>
              <a:off x="4712089" y="3394021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2" name="Straight Connector 151"/>
            <p:cNvCxnSpPr>
              <a:stCxn id="143" idx="5"/>
            </p:cNvCxnSpPr>
            <p:nvPr/>
          </p:nvCxnSpPr>
          <p:spPr>
            <a:xfrm>
              <a:off x="7420277" y="3370294"/>
              <a:ext cx="177498" cy="217456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Oval 143"/>
            <p:cNvSpPr/>
            <p:nvPr/>
          </p:nvSpPr>
          <p:spPr>
            <a:xfrm>
              <a:off x="7838946" y="3228227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7" name="Straight Connector 146"/>
            <p:cNvCxnSpPr>
              <a:endCxn id="144" idx="1"/>
            </p:cNvCxnSpPr>
            <p:nvPr/>
          </p:nvCxnSpPr>
          <p:spPr>
            <a:xfrm>
              <a:off x="7755359" y="3142968"/>
              <a:ext cx="107186" cy="108858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5" name="Group 114"/>
            <p:cNvGrpSpPr/>
            <p:nvPr/>
          </p:nvGrpSpPr>
          <p:grpSpPr>
            <a:xfrm>
              <a:off x="7445877" y="2823583"/>
              <a:ext cx="391052" cy="391052"/>
              <a:chOff x="4358988" y="2736263"/>
              <a:chExt cx="624894" cy="624894"/>
            </a:xfrm>
          </p:grpSpPr>
          <p:sp>
            <p:nvSpPr>
              <p:cNvPr id="116" name="Pie 115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46" name="Straight Connector 145"/>
            <p:cNvCxnSpPr/>
            <p:nvPr/>
          </p:nvCxnSpPr>
          <p:spPr>
            <a:xfrm flipV="1">
              <a:off x="7388225" y="3140970"/>
              <a:ext cx="151110" cy="14515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142"/>
            <p:cNvSpPr/>
            <p:nvPr/>
          </p:nvSpPr>
          <p:spPr>
            <a:xfrm>
              <a:off x="7282735" y="3232752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5" name="Straight Connector 154"/>
            <p:cNvCxnSpPr/>
            <p:nvPr/>
          </p:nvCxnSpPr>
          <p:spPr>
            <a:xfrm flipH="1">
              <a:off x="7836929" y="3375025"/>
              <a:ext cx="68821" cy="19540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Rectangle 124"/>
            <p:cNvSpPr/>
            <p:nvPr/>
          </p:nvSpPr>
          <p:spPr>
            <a:xfrm>
              <a:off x="7755359" y="3446207"/>
              <a:ext cx="196126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9" name="Straight Connector 158"/>
            <p:cNvCxnSpPr>
              <a:stCxn id="99" idx="2"/>
            </p:cNvCxnSpPr>
            <p:nvPr/>
          </p:nvCxnSpPr>
          <p:spPr>
            <a:xfrm>
              <a:off x="4554514" y="3023014"/>
              <a:ext cx="201785" cy="38872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Group 99"/>
            <p:cNvGrpSpPr/>
            <p:nvPr/>
          </p:nvGrpSpPr>
          <p:grpSpPr>
            <a:xfrm>
              <a:off x="4358988" y="2823583"/>
              <a:ext cx="391052" cy="391052"/>
              <a:chOff x="4358988" y="2736263"/>
              <a:chExt cx="624894" cy="624894"/>
            </a:xfrm>
          </p:grpSpPr>
          <p:sp>
            <p:nvSpPr>
              <p:cNvPr id="94" name="Pie 93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0" name="Explosion 1 179"/>
            <p:cNvSpPr/>
            <p:nvPr/>
          </p:nvSpPr>
          <p:spPr>
            <a:xfrm>
              <a:off x="4531620" y="3590496"/>
              <a:ext cx="125501" cy="270552"/>
            </a:xfrm>
            <a:prstGeom prst="irregularSeal1">
              <a:avLst/>
            </a:prstGeom>
            <a:solidFill>
              <a:srgbClr val="66CCFF"/>
            </a:solidFill>
            <a:ln w="1270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7" name="Straight Connector 176"/>
            <p:cNvCxnSpPr/>
            <p:nvPr/>
          </p:nvCxnSpPr>
          <p:spPr>
            <a:xfrm flipV="1">
              <a:off x="4622581" y="3532849"/>
              <a:ext cx="138485" cy="16871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5" name="Oval 194"/>
            <p:cNvSpPr/>
            <p:nvPr/>
          </p:nvSpPr>
          <p:spPr>
            <a:xfrm>
              <a:off x="361337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Oval 195"/>
            <p:cNvSpPr/>
            <p:nvPr/>
          </p:nvSpPr>
          <p:spPr>
            <a:xfrm>
              <a:off x="385646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/>
            <p:cNvSpPr/>
            <p:nvPr/>
          </p:nvSpPr>
          <p:spPr>
            <a:xfrm>
              <a:off x="409955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Oval 197"/>
            <p:cNvSpPr/>
            <p:nvPr/>
          </p:nvSpPr>
          <p:spPr>
            <a:xfrm>
              <a:off x="434263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/>
            <p:cNvSpPr/>
            <p:nvPr/>
          </p:nvSpPr>
          <p:spPr>
            <a:xfrm>
              <a:off x="458572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Oval 199"/>
            <p:cNvSpPr/>
            <p:nvPr/>
          </p:nvSpPr>
          <p:spPr>
            <a:xfrm>
              <a:off x="482880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Oval 200"/>
            <p:cNvSpPr/>
            <p:nvPr/>
          </p:nvSpPr>
          <p:spPr>
            <a:xfrm>
              <a:off x="507189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/>
            <p:cNvSpPr/>
            <p:nvPr/>
          </p:nvSpPr>
          <p:spPr>
            <a:xfrm>
              <a:off x="628732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/>
            <p:cNvSpPr/>
            <p:nvPr/>
          </p:nvSpPr>
          <p:spPr>
            <a:xfrm>
              <a:off x="653041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/>
            <p:cNvSpPr/>
            <p:nvPr/>
          </p:nvSpPr>
          <p:spPr>
            <a:xfrm>
              <a:off x="677349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/>
            <p:cNvSpPr/>
            <p:nvPr/>
          </p:nvSpPr>
          <p:spPr>
            <a:xfrm>
              <a:off x="701658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Oval 209"/>
            <p:cNvSpPr/>
            <p:nvPr/>
          </p:nvSpPr>
          <p:spPr>
            <a:xfrm>
              <a:off x="725966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Oval 210"/>
            <p:cNvSpPr/>
            <p:nvPr/>
          </p:nvSpPr>
          <p:spPr>
            <a:xfrm>
              <a:off x="750275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Oval 211"/>
            <p:cNvSpPr/>
            <p:nvPr/>
          </p:nvSpPr>
          <p:spPr>
            <a:xfrm>
              <a:off x="774583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1531" y="3057779"/>
              <a:ext cx="91833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1626" y="3057779"/>
              <a:ext cx="1132071" cy="1504696"/>
            </a:xfrm>
            <a:prstGeom prst="rect">
              <a:avLst/>
            </a:prstGeom>
            <a:solidFill>
              <a:srgbClr val="AFB9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Rectangle 69">
              <a:extLst>
                <a:ext uri="{FF2B5EF4-FFF2-40B4-BE49-F238E27FC236}">
                  <a16:creationId xmlns="" xmlns:a16="http://schemas.microsoft.com/office/drawing/2014/main" id="{249127FE-2651-4390-A5F0-ED53796AA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921" y="3738139"/>
              <a:ext cx="378054" cy="824336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Oval 4"/>
            <p:cNvSpPr/>
            <p:nvPr/>
          </p:nvSpPr>
          <p:spPr>
            <a:xfrm>
              <a:off x="5556917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Oval 94"/>
            <p:cNvSpPr/>
            <p:nvPr/>
          </p:nvSpPr>
          <p:spPr>
            <a:xfrm>
              <a:off x="5896160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5239611" y="3607348"/>
              <a:ext cx="397428" cy="296217"/>
            </a:xfrm>
            <a:prstGeom prst="rect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1" name="Straight Connector 120"/>
            <p:cNvCxnSpPr/>
            <p:nvPr/>
          </p:nvCxnSpPr>
          <p:spPr>
            <a:xfrm>
              <a:off x="5288852" y="3667249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>
              <a:off x="5288852" y="3710682"/>
              <a:ext cx="1116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>
              <a:off x="5288852" y="3754115"/>
              <a:ext cx="1837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>
              <a:off x="5288852" y="3797548"/>
              <a:ext cx="25571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5288852" y="3840981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Oval 133"/>
            <p:cNvSpPr/>
            <p:nvPr/>
          </p:nvSpPr>
          <p:spPr>
            <a:xfrm>
              <a:off x="5959160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Oval 134"/>
            <p:cNvSpPr/>
            <p:nvPr/>
          </p:nvSpPr>
          <p:spPr>
            <a:xfrm>
              <a:off x="5619917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8" name="Straight Connector 137"/>
            <p:cNvCxnSpPr>
              <a:stCxn id="134" idx="7"/>
              <a:endCxn id="95" idx="7"/>
            </p:cNvCxnSpPr>
            <p:nvPr/>
          </p:nvCxnSpPr>
          <p:spPr>
            <a:xfrm flipV="1">
              <a:off x="6005252" y="3298728"/>
              <a:ext cx="44548" cy="445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>
              <a:stCxn id="135" idx="0"/>
              <a:endCxn id="5" idx="0"/>
            </p:cNvCxnSpPr>
            <p:nvPr/>
          </p:nvCxnSpPr>
          <p:spPr>
            <a:xfrm flipV="1">
              <a:off x="5646917" y="3272368"/>
              <a:ext cx="0" cy="63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>
              <a:off x="5804479" y="38060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>
              <a:off x="5804479" y="38835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>
              <a:off x="5804479" y="39609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>
              <a:off x="5804479" y="40384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 flipH="1">
              <a:off x="5091627" y="4526963"/>
              <a:ext cx="2045095" cy="0"/>
            </a:xfrm>
            <a:prstGeom prst="line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103761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roup 251"/>
          <p:cNvGrpSpPr/>
          <p:nvPr/>
        </p:nvGrpSpPr>
        <p:grpSpPr>
          <a:xfrm>
            <a:off x="3531554" y="2627910"/>
            <a:ext cx="5147145" cy="1934565"/>
            <a:chOff x="3531554" y="2627910"/>
            <a:chExt cx="5147145" cy="1934565"/>
          </a:xfrm>
        </p:grpSpPr>
        <p:sp>
          <p:nvSpPr>
            <p:cNvPr id="253" name="Rectangle 252"/>
            <p:cNvSpPr/>
            <p:nvPr/>
          </p:nvSpPr>
          <p:spPr>
            <a:xfrm>
              <a:off x="3939946" y="4124327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7554607" y="4137013"/>
              <a:ext cx="739611" cy="381072"/>
            </a:xfrm>
            <a:prstGeom prst="rect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Rectangle 254"/>
            <p:cNvSpPr/>
            <p:nvPr/>
          </p:nvSpPr>
          <p:spPr>
            <a:xfrm>
              <a:off x="3860125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6" name="Rectangle 255"/>
            <p:cNvSpPr/>
            <p:nvPr/>
          </p:nvSpPr>
          <p:spPr>
            <a:xfrm>
              <a:off x="4152371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Rectangle 256"/>
            <p:cNvSpPr/>
            <p:nvPr/>
          </p:nvSpPr>
          <p:spPr>
            <a:xfrm>
              <a:off x="4444617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8" name="Rectangle 257"/>
            <p:cNvSpPr/>
            <p:nvPr/>
          </p:nvSpPr>
          <p:spPr>
            <a:xfrm>
              <a:off x="4736863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9" name="Rectangle 258"/>
            <p:cNvSpPr/>
            <p:nvPr/>
          </p:nvSpPr>
          <p:spPr>
            <a:xfrm>
              <a:off x="5029109" y="3738563"/>
              <a:ext cx="140314" cy="172622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7569395" y="2627910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4478925" y="2628277"/>
              <a:ext cx="144016" cy="395104"/>
            </a:xfrm>
            <a:prstGeom prst="rect">
              <a:avLst/>
            </a:prstGeom>
            <a:gradFill flip="none" rotWithShape="1">
              <a:gsLst>
                <a:gs pos="0">
                  <a:srgbClr val="7D8791"/>
                </a:gs>
                <a:gs pos="56000">
                  <a:srgbClr val="7D8791"/>
                </a:gs>
                <a:gs pos="100000">
                  <a:srgbClr val="7D8791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5954854" y="2969512"/>
              <a:ext cx="1098710" cy="108000"/>
            </a:xfrm>
            <a:prstGeom prst="rect">
              <a:avLst/>
            </a:prstGeom>
            <a:solidFill>
              <a:srgbClr val="355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Rounded Rectangle 262"/>
            <p:cNvSpPr/>
            <p:nvPr/>
          </p:nvSpPr>
          <p:spPr>
            <a:xfrm>
              <a:off x="4207927" y="3919200"/>
              <a:ext cx="4470772" cy="251088"/>
            </a:xfrm>
            <a:prstGeom prst="roundRect">
              <a:avLst>
                <a:gd name="adj" fmla="val 50000"/>
              </a:avLst>
            </a:prstGeom>
            <a:solidFill>
              <a:srgbClr val="646E7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3696" y="3057779"/>
              <a:ext cx="913026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Round Same Side Corner Rectangle 264"/>
            <p:cNvSpPr/>
            <p:nvPr/>
          </p:nvSpPr>
          <p:spPr>
            <a:xfrm>
              <a:off x="6318405" y="3361157"/>
              <a:ext cx="735159" cy="895109"/>
            </a:xfrm>
            <a:prstGeom prst="round2SameRect">
              <a:avLst/>
            </a:prstGeom>
            <a:solidFill>
              <a:srgbClr val="505A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ounded Rectangle 265"/>
            <p:cNvSpPr/>
            <p:nvPr/>
          </p:nvSpPr>
          <p:spPr>
            <a:xfrm>
              <a:off x="3531554" y="3919200"/>
              <a:ext cx="4407533" cy="251088"/>
            </a:xfrm>
            <a:prstGeom prst="roundRect">
              <a:avLst>
                <a:gd name="adj" fmla="val 50000"/>
              </a:avLst>
            </a:prstGeom>
            <a:solidFill>
              <a:srgbClr val="7D879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5188551" y="2969511"/>
              <a:ext cx="938220" cy="108000"/>
            </a:xfrm>
            <a:prstGeom prst="rect">
              <a:avLst/>
            </a:prstGeom>
            <a:solidFill>
              <a:srgbClr val="4A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6652966" y="3619235"/>
              <a:ext cx="331758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6500566" y="3619236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7467327" y="3446208"/>
              <a:ext cx="288032" cy="288032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1" name="Oval 270"/>
            <p:cNvSpPr/>
            <p:nvPr/>
          </p:nvSpPr>
          <p:spPr>
            <a:xfrm>
              <a:off x="4712089" y="3394021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2" name="Straight Connector 271"/>
            <p:cNvCxnSpPr>
              <a:stCxn id="277" idx="5"/>
            </p:cNvCxnSpPr>
            <p:nvPr/>
          </p:nvCxnSpPr>
          <p:spPr>
            <a:xfrm>
              <a:off x="7420277" y="3370294"/>
              <a:ext cx="177498" cy="217456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3" name="Oval 272"/>
            <p:cNvSpPr/>
            <p:nvPr/>
          </p:nvSpPr>
          <p:spPr>
            <a:xfrm>
              <a:off x="7838946" y="3228227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4" name="Straight Connector 273"/>
            <p:cNvCxnSpPr>
              <a:endCxn id="273" idx="1"/>
            </p:cNvCxnSpPr>
            <p:nvPr/>
          </p:nvCxnSpPr>
          <p:spPr>
            <a:xfrm>
              <a:off x="7755359" y="3142968"/>
              <a:ext cx="107186" cy="108858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5" name="Group 274"/>
            <p:cNvGrpSpPr/>
            <p:nvPr/>
          </p:nvGrpSpPr>
          <p:grpSpPr>
            <a:xfrm>
              <a:off x="7445877" y="2823583"/>
              <a:ext cx="391052" cy="391052"/>
              <a:chOff x="4358988" y="2736263"/>
              <a:chExt cx="624894" cy="624894"/>
            </a:xfrm>
          </p:grpSpPr>
          <p:sp>
            <p:nvSpPr>
              <p:cNvPr id="320" name="Pie 319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1" name="Rectangle 320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76" name="Straight Connector 275"/>
            <p:cNvCxnSpPr/>
            <p:nvPr/>
          </p:nvCxnSpPr>
          <p:spPr>
            <a:xfrm flipV="1">
              <a:off x="7388225" y="3140970"/>
              <a:ext cx="151110" cy="14515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7" name="Oval 276"/>
            <p:cNvSpPr/>
            <p:nvPr/>
          </p:nvSpPr>
          <p:spPr>
            <a:xfrm>
              <a:off x="7282735" y="3232752"/>
              <a:ext cx="161141" cy="161141"/>
            </a:xfrm>
            <a:prstGeom prst="ellipse">
              <a:avLst/>
            </a:prstGeom>
            <a:solidFill>
              <a:srgbClr val="AFB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8" name="Straight Connector 277"/>
            <p:cNvCxnSpPr/>
            <p:nvPr/>
          </p:nvCxnSpPr>
          <p:spPr>
            <a:xfrm flipH="1">
              <a:off x="7836929" y="3375025"/>
              <a:ext cx="68821" cy="19540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9" name="Rectangle 278"/>
            <p:cNvSpPr/>
            <p:nvPr/>
          </p:nvSpPr>
          <p:spPr>
            <a:xfrm>
              <a:off x="7755359" y="3446207"/>
              <a:ext cx="196126" cy="288032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0" name="Straight Connector 279"/>
            <p:cNvCxnSpPr>
              <a:stCxn id="319" idx="2"/>
            </p:cNvCxnSpPr>
            <p:nvPr/>
          </p:nvCxnSpPr>
          <p:spPr>
            <a:xfrm>
              <a:off x="4554514" y="3023014"/>
              <a:ext cx="201785" cy="388725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1" name="Group 280"/>
            <p:cNvGrpSpPr/>
            <p:nvPr/>
          </p:nvGrpSpPr>
          <p:grpSpPr>
            <a:xfrm>
              <a:off x="4358988" y="2823583"/>
              <a:ext cx="391052" cy="391052"/>
              <a:chOff x="4358988" y="2736263"/>
              <a:chExt cx="624894" cy="624894"/>
            </a:xfrm>
          </p:grpSpPr>
          <p:sp>
            <p:nvSpPr>
              <p:cNvPr id="318" name="Pie 317"/>
              <p:cNvSpPr/>
              <p:nvPr/>
            </p:nvSpPr>
            <p:spPr>
              <a:xfrm>
                <a:off x="4358988" y="2736263"/>
                <a:ext cx="624894" cy="624894"/>
              </a:xfrm>
              <a:prstGeom prst="pie">
                <a:avLst>
                  <a:gd name="adj1" fmla="val 0"/>
                  <a:gd name="adj2" fmla="val 10793718"/>
                </a:avLst>
              </a:prstGeom>
              <a:solidFill>
                <a:srgbClr val="AFB9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9" name="Rectangle 318"/>
              <p:cNvSpPr/>
              <p:nvPr/>
            </p:nvSpPr>
            <p:spPr>
              <a:xfrm>
                <a:off x="4358988" y="2969512"/>
                <a:ext cx="624894" cy="85438"/>
              </a:xfrm>
              <a:prstGeom prst="rect">
                <a:avLst/>
              </a:prstGeom>
              <a:solidFill>
                <a:srgbClr val="4A7B7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82" name="Explosion 1 281"/>
            <p:cNvSpPr/>
            <p:nvPr/>
          </p:nvSpPr>
          <p:spPr>
            <a:xfrm>
              <a:off x="4531620" y="3590496"/>
              <a:ext cx="125501" cy="270552"/>
            </a:xfrm>
            <a:prstGeom prst="irregularSeal1">
              <a:avLst/>
            </a:prstGeom>
            <a:solidFill>
              <a:srgbClr val="66CCFF"/>
            </a:solidFill>
            <a:ln w="1270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83" name="Straight Connector 282"/>
            <p:cNvCxnSpPr/>
            <p:nvPr/>
          </p:nvCxnSpPr>
          <p:spPr>
            <a:xfrm flipV="1">
              <a:off x="4622581" y="3532849"/>
              <a:ext cx="138485" cy="168714"/>
            </a:xfrm>
            <a:prstGeom prst="line">
              <a:avLst/>
            </a:prstGeom>
            <a:ln w="76200" cap="rnd">
              <a:solidFill>
                <a:srgbClr val="505A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4" name="Oval 283"/>
            <p:cNvSpPr/>
            <p:nvPr/>
          </p:nvSpPr>
          <p:spPr>
            <a:xfrm>
              <a:off x="361337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Oval 284"/>
            <p:cNvSpPr/>
            <p:nvPr/>
          </p:nvSpPr>
          <p:spPr>
            <a:xfrm>
              <a:off x="385646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Oval 285"/>
            <p:cNvSpPr/>
            <p:nvPr/>
          </p:nvSpPr>
          <p:spPr>
            <a:xfrm>
              <a:off x="409955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Oval 286"/>
            <p:cNvSpPr/>
            <p:nvPr/>
          </p:nvSpPr>
          <p:spPr>
            <a:xfrm>
              <a:off x="434263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8" name="Oval 287"/>
            <p:cNvSpPr/>
            <p:nvPr/>
          </p:nvSpPr>
          <p:spPr>
            <a:xfrm>
              <a:off x="458572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9" name="Oval 288"/>
            <p:cNvSpPr/>
            <p:nvPr/>
          </p:nvSpPr>
          <p:spPr>
            <a:xfrm>
              <a:off x="482880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Oval 289"/>
            <p:cNvSpPr/>
            <p:nvPr/>
          </p:nvSpPr>
          <p:spPr>
            <a:xfrm>
              <a:off x="507189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1" name="Oval 290"/>
            <p:cNvSpPr/>
            <p:nvPr/>
          </p:nvSpPr>
          <p:spPr>
            <a:xfrm>
              <a:off x="628732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2" name="Oval 291"/>
            <p:cNvSpPr/>
            <p:nvPr/>
          </p:nvSpPr>
          <p:spPr>
            <a:xfrm>
              <a:off x="6530411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3" name="Oval 292"/>
            <p:cNvSpPr/>
            <p:nvPr/>
          </p:nvSpPr>
          <p:spPr>
            <a:xfrm>
              <a:off x="6773497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4" name="Oval 293"/>
            <p:cNvSpPr/>
            <p:nvPr/>
          </p:nvSpPr>
          <p:spPr>
            <a:xfrm>
              <a:off x="701658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5" name="Oval 294"/>
            <p:cNvSpPr/>
            <p:nvPr/>
          </p:nvSpPr>
          <p:spPr>
            <a:xfrm>
              <a:off x="7259669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Oval 295"/>
            <p:cNvSpPr/>
            <p:nvPr/>
          </p:nvSpPr>
          <p:spPr>
            <a:xfrm>
              <a:off x="7502755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7" name="Oval 296"/>
            <p:cNvSpPr/>
            <p:nvPr/>
          </p:nvSpPr>
          <p:spPr>
            <a:xfrm>
              <a:off x="7745833" y="3990744"/>
              <a:ext cx="108000" cy="108000"/>
            </a:xfrm>
            <a:prstGeom prst="ellipse">
              <a:avLst/>
            </a:prstGeom>
            <a:solidFill>
              <a:srgbClr val="646E78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8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1531" y="3057779"/>
              <a:ext cx="91833" cy="1504696"/>
            </a:xfrm>
            <a:prstGeom prst="rect">
              <a:avLst/>
            </a:prstGeom>
            <a:solidFill>
              <a:srgbClr val="646E7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9" name="Rectangle 67">
              <a:extLst>
                <a:ext uri="{FF2B5EF4-FFF2-40B4-BE49-F238E27FC236}">
                  <a16:creationId xmlns="" xmlns:a16="http://schemas.microsoft.com/office/drawing/2014/main" id="{D2D0F6B7-C28F-4CC6-A623-7788603EA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1626" y="3057779"/>
              <a:ext cx="1132071" cy="1504696"/>
            </a:xfrm>
            <a:prstGeom prst="rect">
              <a:avLst/>
            </a:prstGeom>
            <a:solidFill>
              <a:srgbClr val="AFB9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0" name="Rectangle 69">
              <a:extLst>
                <a:ext uri="{FF2B5EF4-FFF2-40B4-BE49-F238E27FC236}">
                  <a16:creationId xmlns="" xmlns:a16="http://schemas.microsoft.com/office/drawing/2014/main" id="{249127FE-2651-4390-A5F0-ED53796AA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921" y="3738139"/>
              <a:ext cx="378054" cy="824336"/>
            </a:xfrm>
            <a:prstGeom prst="rect">
              <a:avLst/>
            </a:pr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1" name="Oval 300"/>
            <p:cNvSpPr/>
            <p:nvPr/>
          </p:nvSpPr>
          <p:spPr>
            <a:xfrm>
              <a:off x="5556917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Oval 301"/>
            <p:cNvSpPr/>
            <p:nvPr/>
          </p:nvSpPr>
          <p:spPr>
            <a:xfrm>
              <a:off x="5896160" y="3272368"/>
              <a:ext cx="180000" cy="180000"/>
            </a:xfrm>
            <a:prstGeom prst="ellipse">
              <a:avLst/>
            </a:prstGeom>
            <a:solidFill>
              <a:srgbClr val="66CC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3" name="Rectangle 302"/>
            <p:cNvSpPr/>
            <p:nvPr/>
          </p:nvSpPr>
          <p:spPr>
            <a:xfrm>
              <a:off x="5239611" y="3607348"/>
              <a:ext cx="397428" cy="296217"/>
            </a:xfrm>
            <a:prstGeom prst="rect">
              <a:avLst/>
            </a:prstGeom>
            <a:solidFill>
              <a:srgbClr val="66CC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4" name="Straight Connector 303"/>
            <p:cNvCxnSpPr/>
            <p:nvPr/>
          </p:nvCxnSpPr>
          <p:spPr>
            <a:xfrm>
              <a:off x="5288852" y="3667249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/>
            <p:cNvCxnSpPr/>
            <p:nvPr/>
          </p:nvCxnSpPr>
          <p:spPr>
            <a:xfrm>
              <a:off x="5288852" y="3710682"/>
              <a:ext cx="1116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/>
          </p:nvCxnSpPr>
          <p:spPr>
            <a:xfrm>
              <a:off x="5288852" y="3754115"/>
              <a:ext cx="1837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>
              <a:off x="5288852" y="3797548"/>
              <a:ext cx="25571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Connector 307"/>
            <p:cNvCxnSpPr/>
            <p:nvPr/>
          </p:nvCxnSpPr>
          <p:spPr>
            <a:xfrm>
              <a:off x="5288852" y="3840981"/>
              <a:ext cx="21602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9" name="Oval 308"/>
            <p:cNvSpPr/>
            <p:nvPr/>
          </p:nvSpPr>
          <p:spPr>
            <a:xfrm>
              <a:off x="5959160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" name="Oval 309"/>
            <p:cNvSpPr/>
            <p:nvPr/>
          </p:nvSpPr>
          <p:spPr>
            <a:xfrm>
              <a:off x="5619917" y="3335368"/>
              <a:ext cx="54000" cy="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1" name="Straight Connector 310"/>
            <p:cNvCxnSpPr>
              <a:stCxn id="309" idx="7"/>
              <a:endCxn id="302" idx="7"/>
            </p:cNvCxnSpPr>
            <p:nvPr/>
          </p:nvCxnSpPr>
          <p:spPr>
            <a:xfrm flipV="1">
              <a:off x="6005252" y="3298728"/>
              <a:ext cx="44548" cy="445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2" name="Straight Connector 311"/>
            <p:cNvCxnSpPr>
              <a:stCxn id="310" idx="0"/>
              <a:endCxn id="301" idx="0"/>
            </p:cNvCxnSpPr>
            <p:nvPr/>
          </p:nvCxnSpPr>
          <p:spPr>
            <a:xfrm flipV="1">
              <a:off x="5646917" y="3272368"/>
              <a:ext cx="0" cy="63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3" name="Straight Connector 312"/>
            <p:cNvCxnSpPr/>
            <p:nvPr/>
          </p:nvCxnSpPr>
          <p:spPr>
            <a:xfrm>
              <a:off x="5804479" y="38060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4" name="Straight Connector 313"/>
            <p:cNvCxnSpPr/>
            <p:nvPr/>
          </p:nvCxnSpPr>
          <p:spPr>
            <a:xfrm>
              <a:off x="5804479" y="38835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5" name="Straight Connector 314"/>
            <p:cNvCxnSpPr/>
            <p:nvPr/>
          </p:nvCxnSpPr>
          <p:spPr>
            <a:xfrm>
              <a:off x="5804479" y="396095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6" name="Straight Connector 315"/>
            <p:cNvCxnSpPr/>
            <p:nvPr/>
          </p:nvCxnSpPr>
          <p:spPr>
            <a:xfrm>
              <a:off x="5804479" y="4038406"/>
              <a:ext cx="266938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Connector 316"/>
            <p:cNvCxnSpPr/>
            <p:nvPr/>
          </p:nvCxnSpPr>
          <p:spPr>
            <a:xfrm flipH="1">
              <a:off x="5091627" y="4526963"/>
              <a:ext cx="2045095" cy="0"/>
            </a:xfrm>
            <a:prstGeom prst="line">
              <a:avLst/>
            </a:prstGeom>
            <a:noFill/>
            <a:ln w="76200">
              <a:solidFill>
                <a:srgbClr val="5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96" name="Content Placeholder 95"/>
          <p:cNvSpPr>
            <a:spLocks noGrp="1"/>
          </p:cNvSpPr>
          <p:nvPr>
            <p:ph idx="1"/>
          </p:nvPr>
        </p:nvSpPr>
        <p:spPr>
          <a:xfrm>
            <a:off x="609918" y="1600201"/>
            <a:ext cx="10978515" cy="45259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ustrial Internet of Th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102" name="Cloud Callout 101"/>
          <p:cNvSpPr/>
          <p:nvPr/>
        </p:nvSpPr>
        <p:spPr>
          <a:xfrm>
            <a:off x="609918" y="1600201"/>
            <a:ext cx="3389880" cy="1785240"/>
          </a:xfrm>
          <a:prstGeom prst="cloudCallout">
            <a:avLst>
              <a:gd name="adj1" fmla="val 57142"/>
              <a:gd name="adj2" fmla="val 5488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rtlCol="0" anchor="ctr"/>
          <a:lstStyle/>
          <a:p>
            <a:pPr algn="ctr"/>
            <a:r>
              <a:rPr lang="de-DE" sz="2000" b="1" dirty="0" smtClean="0">
                <a:solidFill>
                  <a:schemeClr val="tx1"/>
                </a:solidFill>
              </a:rPr>
              <a:t>Who are you?</a:t>
            </a:r>
          </a:p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Name</a:t>
            </a:r>
            <a:r>
              <a:rPr lang="de-DE" sz="2000" dirty="0">
                <a:solidFill>
                  <a:schemeClr val="tx1"/>
                </a:solidFill>
              </a:rPr>
              <a:t>, </a:t>
            </a:r>
            <a:r>
              <a:rPr lang="de-DE" sz="2000" dirty="0" smtClean="0">
                <a:solidFill>
                  <a:schemeClr val="tx1"/>
                </a:solidFill>
              </a:rPr>
              <a:t>ID, type</a:t>
            </a:r>
            <a:r>
              <a:rPr lang="de-DE" sz="2000" dirty="0">
                <a:solidFill>
                  <a:schemeClr val="tx1"/>
                </a:solidFill>
              </a:rPr>
              <a:t>, </a:t>
            </a:r>
            <a:r>
              <a:rPr lang="de-DE" sz="2000" dirty="0" smtClean="0">
                <a:solidFill>
                  <a:schemeClr val="tx1"/>
                </a:solidFill>
              </a:rPr>
              <a:t>location,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... </a:t>
            </a:r>
            <a:r>
              <a:rPr lang="de-DE" sz="2000" i="1" dirty="0" smtClean="0">
                <a:solidFill>
                  <a:schemeClr val="tx1"/>
                </a:solidFill>
              </a:rPr>
              <a:t>general metadata ...</a:t>
            </a:r>
            <a:endParaRPr lang="en-US" sz="2000" i="1" dirty="0">
              <a:solidFill>
                <a:schemeClr val="tx1"/>
              </a:solidFill>
            </a:endParaRPr>
          </a:p>
        </p:txBody>
      </p:sp>
      <p:sp>
        <p:nvSpPr>
          <p:cNvPr id="103" name="Cloud Callout 102"/>
          <p:cNvSpPr/>
          <p:nvPr/>
        </p:nvSpPr>
        <p:spPr>
          <a:xfrm>
            <a:off x="430870" y="4657481"/>
            <a:ext cx="4660193" cy="1785240"/>
          </a:xfrm>
          <a:prstGeom prst="cloudCallout">
            <a:avLst>
              <a:gd name="adj1" fmla="val 45822"/>
              <a:gd name="adj2" fmla="val -6713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8000"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What data and functions?</a:t>
            </a:r>
          </a:p>
          <a:p>
            <a:pPr algn="ctr"/>
            <a:r>
              <a:rPr lang="de-DE" sz="2000" dirty="0">
                <a:solidFill>
                  <a:schemeClr val="tx1"/>
                </a:solidFill>
              </a:rPr>
              <a:t>Input, output, type, </a:t>
            </a:r>
            <a:r>
              <a:rPr lang="de-DE" sz="2000" dirty="0" smtClean="0">
                <a:solidFill>
                  <a:schemeClr val="tx1"/>
                </a:solidFill>
              </a:rPr>
              <a:t>range, unit,</a:t>
            </a:r>
            <a:br>
              <a:rPr lang="de-DE" sz="2000" dirty="0" smtClean="0">
                <a:solidFill>
                  <a:schemeClr val="tx1"/>
                </a:solidFill>
              </a:rPr>
            </a:br>
            <a:r>
              <a:rPr lang="de-DE" sz="2000" dirty="0" smtClean="0">
                <a:solidFill>
                  <a:schemeClr val="tx1"/>
                </a:solidFill>
              </a:rPr>
              <a:t>... </a:t>
            </a:r>
            <a:r>
              <a:rPr lang="de-DE" sz="2000" i="1" dirty="0" smtClean="0">
                <a:solidFill>
                  <a:schemeClr val="tx1"/>
                </a:solidFill>
              </a:rPr>
              <a:t>semantic meaning</a:t>
            </a:r>
            <a:r>
              <a:rPr lang="de-DE" sz="2000" i="1" dirty="0">
                <a:solidFill>
                  <a:schemeClr val="tx1"/>
                </a:solidFill>
              </a:rPr>
              <a:t> </a:t>
            </a:r>
            <a:r>
              <a:rPr lang="de-DE" sz="2000" i="1" dirty="0" smtClean="0">
                <a:solidFill>
                  <a:schemeClr val="tx1"/>
                </a:solidFill>
              </a:rPr>
              <a:t>...</a:t>
            </a:r>
            <a:endParaRPr lang="de-DE" sz="2000" i="1" dirty="0">
              <a:solidFill>
                <a:schemeClr val="tx1"/>
              </a:solidFill>
            </a:endParaRPr>
          </a:p>
        </p:txBody>
      </p:sp>
      <p:sp>
        <p:nvSpPr>
          <p:cNvPr id="104" name="Cloud Callout 103"/>
          <p:cNvSpPr/>
          <p:nvPr/>
        </p:nvSpPr>
        <p:spPr>
          <a:xfrm>
            <a:off x="7662266" y="4494523"/>
            <a:ext cx="4032895" cy="2088842"/>
          </a:xfrm>
          <a:prstGeom prst="cloudCallout">
            <a:avLst>
              <a:gd name="adj1" fmla="val -59220"/>
              <a:gd name="adj2" fmla="val -57718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tIns="144000"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How to interact?</a:t>
            </a:r>
          </a:p>
          <a:p>
            <a:pPr algn="ctr"/>
            <a:r>
              <a:rPr lang="de-DE" sz="2000" dirty="0">
                <a:solidFill>
                  <a:schemeClr val="tx1"/>
                </a:solidFill>
              </a:rPr>
              <a:t>Protocol, address, payload format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security mechanism,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i="1" dirty="0" smtClean="0">
                <a:solidFill>
                  <a:schemeClr val="tx1"/>
                </a:solidFill>
              </a:rPr>
              <a:t>... </a:t>
            </a:r>
            <a:r>
              <a:rPr lang="de-DE" sz="2000" i="1" dirty="0">
                <a:solidFill>
                  <a:schemeClr val="tx1"/>
                </a:solidFill>
              </a:rPr>
              <a:t>i</a:t>
            </a:r>
            <a:r>
              <a:rPr lang="de-DE" sz="2000" i="1" dirty="0" smtClean="0">
                <a:solidFill>
                  <a:schemeClr val="tx1"/>
                </a:solidFill>
              </a:rPr>
              <a:t>nteraction model ...</a:t>
            </a:r>
            <a:endParaRPr lang="en-US" sz="2000" i="1" dirty="0">
              <a:solidFill>
                <a:schemeClr val="tx1"/>
              </a:solidFill>
            </a:endParaRPr>
          </a:p>
        </p:txBody>
      </p:sp>
      <p:sp>
        <p:nvSpPr>
          <p:cNvPr id="105" name="Cloud Callout 104"/>
          <p:cNvSpPr/>
          <p:nvPr/>
        </p:nvSpPr>
        <p:spPr>
          <a:xfrm>
            <a:off x="7514691" y="1446602"/>
            <a:ext cx="4068670" cy="1776936"/>
          </a:xfrm>
          <a:prstGeom prst="cloudCallout">
            <a:avLst>
              <a:gd name="adj1" fmla="val -64709"/>
              <a:gd name="adj2" fmla="val 61754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96000"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What else?</a:t>
            </a:r>
          </a:p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Manual</a:t>
            </a:r>
            <a:r>
              <a:rPr lang="de-DE" sz="2000" dirty="0">
                <a:solidFill>
                  <a:schemeClr val="tx1"/>
                </a:solidFill>
              </a:rPr>
              <a:t>, spare </a:t>
            </a:r>
            <a:r>
              <a:rPr lang="de-DE" sz="2000" dirty="0" smtClean="0">
                <a:solidFill>
                  <a:schemeClr val="tx1"/>
                </a:solidFill>
              </a:rPr>
              <a:t>parts, digital </a:t>
            </a:r>
            <a:r>
              <a:rPr lang="de-DE" sz="2000" dirty="0">
                <a:solidFill>
                  <a:schemeClr val="tx1"/>
                </a:solidFill>
              </a:rPr>
              <a:t>twin,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i="1" dirty="0" smtClean="0">
                <a:solidFill>
                  <a:schemeClr val="tx1"/>
                </a:solidFill>
              </a:rPr>
              <a:t>... related entities ...</a:t>
            </a:r>
            <a:endParaRPr lang="en-US" sz="2000" i="1" dirty="0">
              <a:solidFill>
                <a:schemeClr val="tx1"/>
              </a:solidFill>
            </a:endParaRPr>
          </a:p>
        </p:txBody>
      </p:sp>
      <p:sp>
        <p:nvSpPr>
          <p:cNvPr id="98" name="Textfeld 131"/>
          <p:cNvSpPr txBox="1"/>
          <p:nvPr/>
        </p:nvSpPr>
        <p:spPr>
          <a:xfrm>
            <a:off x="6016083" y="2036678"/>
            <a:ext cx="18010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1</a:t>
            </a:r>
          </a:p>
          <a:p>
            <a:pPr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</a:t>
            </a:r>
          </a:p>
        </p:txBody>
      </p:sp>
      <p:sp>
        <p:nvSpPr>
          <p:cNvPr id="100" name="Wolke 92"/>
          <p:cNvSpPr/>
          <p:nvPr/>
        </p:nvSpPr>
        <p:spPr bwMode="auto">
          <a:xfrm rot="10987467">
            <a:off x="5514734" y="1479144"/>
            <a:ext cx="1214326" cy="742278"/>
          </a:xfrm>
          <a:prstGeom prst="cloud">
            <a:avLst/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21600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3114517" y="2959987"/>
            <a:ext cx="5971182" cy="2447548"/>
            <a:chOff x="3114517" y="2959987"/>
            <a:chExt cx="5971182" cy="2447548"/>
          </a:xfrm>
        </p:grpSpPr>
        <p:sp>
          <p:nvSpPr>
            <p:cNvPr id="250" name="Up Ribbon 249"/>
            <p:cNvSpPr/>
            <p:nvPr/>
          </p:nvSpPr>
          <p:spPr>
            <a:xfrm>
              <a:off x="3114517" y="2959987"/>
              <a:ext cx="5971182" cy="1897763"/>
            </a:xfrm>
            <a:prstGeom prst="ribbon2">
              <a:avLst>
                <a:gd name="adj1" fmla="val 16667"/>
                <a:gd name="adj2" fmla="val 58418"/>
              </a:avLst>
            </a:prstGeom>
            <a:solidFill>
              <a:srgbClr val="0070C0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000"/>
                </a:spcAft>
              </a:pPr>
              <a:r>
                <a:rPr lang="de-DE" sz="3600" dirty="0"/>
                <a:t>Web Technology</a:t>
              </a:r>
            </a:p>
            <a:p>
              <a:pPr algn="ctr"/>
              <a:r>
                <a:rPr lang="de-DE" sz="2000" dirty="0"/>
                <a:t>URIs, HTTP, JSON, REST,</a:t>
              </a:r>
              <a:br>
                <a:rPr lang="de-DE" sz="2000" dirty="0"/>
              </a:br>
              <a:r>
                <a:rPr lang="de-DE" sz="2000" dirty="0"/>
                <a:t>Linked Data, ... , </a:t>
              </a:r>
              <a:r>
                <a:rPr lang="de-DE" sz="2000" i="1" dirty="0"/>
                <a:t>usability</a:t>
              </a:r>
              <a:r>
                <a:rPr lang="de-DE" sz="2000" dirty="0"/>
                <a:t>!</a:t>
              </a:r>
              <a:endParaRPr lang="en-US" sz="2000" dirty="0"/>
            </a:p>
          </p:txBody>
        </p:sp>
        <p:pic>
          <p:nvPicPr>
            <p:cNvPr id="251" name="Picture 250">
              <a:extLst>
                <a:ext uri="{FF2B5EF4-FFF2-40B4-BE49-F238E27FC236}">
                  <a16:creationId xmlns="" xmlns:a16="http://schemas.microsoft.com/office/drawing/2014/main" id="{5CE18915-2101-F040-A36C-A7E0A1058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00919" y="4862439"/>
              <a:ext cx="1179327" cy="545096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5213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4" grpId="0" animBg="1"/>
      <p:bldP spid="10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Arrow 4"/>
          <p:cNvSpPr/>
          <p:nvPr/>
        </p:nvSpPr>
        <p:spPr>
          <a:xfrm rot="12600000">
            <a:off x="3188645" y="2677623"/>
            <a:ext cx="2232248" cy="557808"/>
          </a:xfrm>
          <a:prstGeom prst="rightArrow">
            <a:avLst/>
          </a:prstGeom>
          <a:solidFill>
            <a:srgbClr val="AFB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3C WoT Building Block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  <p:sp>
        <p:nvSpPr>
          <p:cNvPr id="93" name="Cube 4"/>
          <p:cNvSpPr/>
          <p:nvPr/>
        </p:nvSpPr>
        <p:spPr>
          <a:xfrm>
            <a:off x="4361422" y="1477869"/>
            <a:ext cx="3465585" cy="1080000"/>
          </a:xfrm>
          <a:prstGeom prst="cube">
            <a:avLst/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ea typeface="+mn-ea"/>
                <a:cs typeface="Arial" pitchFamily="34" charset="0"/>
              </a:rPr>
              <a:t>WoT </a:t>
            </a:r>
            <a:r>
              <a:rPr lang="en-US" sz="2000" b="1" kern="100" dirty="0" smtClean="0">
                <a:ea typeface="+mn-ea"/>
                <a:cs typeface="Arial" pitchFamily="34" charset="0"/>
              </a:rPr>
              <a:t>Security </a:t>
            </a:r>
            <a:r>
              <a:rPr lang="en-US" sz="2000" b="1" kern="100" dirty="0" smtClean="0">
                <a:cs typeface="Arial" pitchFamily="34" charset="0"/>
              </a:rPr>
              <a:t>and</a:t>
            </a:r>
            <a:r>
              <a:rPr lang="en-US" sz="2000" b="1" kern="100" dirty="0" smtClean="0">
                <a:ea typeface="+mn-ea"/>
                <a:cs typeface="Arial" pitchFamily="34" charset="0"/>
              </a:rPr>
              <a:t> Privacy </a:t>
            </a:r>
            <a:r>
              <a:rPr lang="en-US" sz="2000" b="1" kern="100" dirty="0">
                <a:ea typeface="+mn-ea"/>
                <a:cs typeface="Arial" pitchFamily="34" charset="0"/>
              </a:rPr>
              <a:t>Guidelin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95" name="角丸四角形 6"/>
          <p:cNvSpPr/>
          <p:nvPr/>
        </p:nvSpPr>
        <p:spPr bwMode="auto">
          <a:xfrm>
            <a:off x="4361422" y="2938510"/>
            <a:ext cx="3475507" cy="1623965"/>
          </a:xfrm>
          <a:prstGeom prst="round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4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Things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Architectur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1" name="Cube 4"/>
          <p:cNvSpPr/>
          <p:nvPr/>
        </p:nvSpPr>
        <p:spPr>
          <a:xfrm>
            <a:off x="8348433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Scripting API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Cube 4"/>
          <p:cNvSpPr/>
          <p:nvPr/>
        </p:nvSpPr>
        <p:spPr>
          <a:xfrm>
            <a:off x="4361422" y="5046164"/>
            <a:ext cx="3465585" cy="1080000"/>
          </a:xfrm>
          <a:prstGeom prst="cube">
            <a:avLst/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Binding Templates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Cube 4"/>
          <p:cNvSpPr/>
          <p:nvPr/>
        </p:nvSpPr>
        <p:spPr>
          <a:xfrm>
            <a:off x="609918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Thing Description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99" y="4562475"/>
            <a:ext cx="2966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formation model and representation format</a:t>
            </a:r>
            <a:br>
              <a:rPr lang="en-US" sz="2000" dirty="0"/>
            </a:br>
            <a:r>
              <a:rPr lang="en-US" sz="2000" dirty="0"/>
              <a:t>for rich semantic metadata</a:t>
            </a:r>
          </a:p>
          <a:p>
            <a:pPr algn="ctr"/>
            <a:r>
              <a:rPr lang="en-US" sz="2000" dirty="0"/>
              <a:t>“The HTML for Things”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8346311" y="4562475"/>
            <a:ext cx="34816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JavaScript runtime </a:t>
            </a:r>
            <a:r>
              <a:rPr lang="en-US" sz="2000" dirty="0"/>
              <a:t>environment similar to Web </a:t>
            </a:r>
            <a:r>
              <a:rPr lang="en-US" sz="2000" dirty="0" smtClean="0"/>
              <a:t>browser,</a:t>
            </a:r>
            <a:br>
              <a:rPr lang="en-US" sz="2000" dirty="0" smtClean="0"/>
            </a:br>
            <a:r>
              <a:rPr lang="en-US" sz="2000" dirty="0" smtClean="0"/>
              <a:t>but </a:t>
            </a:r>
            <a:r>
              <a:rPr lang="en-US" sz="2000" dirty="0"/>
              <a:t>for IoT applications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364834" y="6126164"/>
            <a:ext cx="34621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clude existing ecosystems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7837241" y="1477869"/>
            <a:ext cx="37511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Overarching </a:t>
            </a:r>
            <a:r>
              <a:rPr lang="de-DE" sz="2000" dirty="0" smtClean="0"/>
              <a:t>security guidance with </a:t>
            </a:r>
            <a:r>
              <a:rPr lang="de-DE" sz="2000" dirty="0"/>
              <a:t>the prudence level of the World Wide Web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616952" y="854463"/>
            <a:ext cx="2834770" cy="1751730"/>
            <a:chOff x="667453" y="1452368"/>
            <a:chExt cx="2834770" cy="1751730"/>
          </a:xfrm>
        </p:grpSpPr>
        <p:sp>
          <p:nvSpPr>
            <p:cNvPr id="18" name="Cloud 47"/>
            <p:cNvSpPr/>
            <p:nvPr/>
          </p:nvSpPr>
          <p:spPr>
            <a:xfrm>
              <a:off x="667453" y="1452368"/>
              <a:ext cx="1562230" cy="773640"/>
            </a:xfrm>
            <a:prstGeom prst="cloud">
              <a:avLst/>
            </a:prstGeom>
            <a:solidFill>
              <a:srgbClr val="7F7F7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rIns="0" rtlCol="0" anchor="ctr"/>
            <a:lstStyle/>
            <a:p>
              <a:pPr algn="ctr"/>
              <a:r>
                <a:rPr lang="de-DE" sz="2000" dirty="0" smtClean="0">
                  <a:latin typeface="+mj-lt"/>
                </a:rPr>
                <a:t>Metadata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5" name="Cloud 46"/>
            <p:cNvSpPr/>
            <p:nvPr/>
          </p:nvSpPr>
          <p:spPr>
            <a:xfrm>
              <a:off x="1058615" y="2430458"/>
              <a:ext cx="1373525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Action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6" name="Cloud 47"/>
            <p:cNvSpPr/>
            <p:nvPr/>
          </p:nvSpPr>
          <p:spPr>
            <a:xfrm>
              <a:off x="1436751" y="1945355"/>
              <a:ext cx="1562230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rIns="0" rtlCol="0" anchor="ctr"/>
            <a:lstStyle/>
            <a:p>
              <a:pPr algn="ctr"/>
              <a:r>
                <a:rPr lang="de-DE" sz="2000" dirty="0">
                  <a:latin typeface="+mj-lt"/>
                </a:rPr>
                <a:t>Properties</a:t>
              </a:r>
              <a:endParaRPr lang="en-US" sz="2000" dirty="0">
                <a:latin typeface="+mj-lt"/>
              </a:endParaRPr>
            </a:p>
          </p:txBody>
        </p:sp>
        <p:sp>
          <p:nvSpPr>
            <p:cNvPr id="17" name="Cloud 48"/>
            <p:cNvSpPr/>
            <p:nvPr/>
          </p:nvSpPr>
          <p:spPr>
            <a:xfrm>
              <a:off x="2264995" y="2380531"/>
              <a:ext cx="1237228" cy="773640"/>
            </a:xfrm>
            <a:prstGeom prst="cloud">
              <a:avLst/>
            </a:prstGeom>
            <a:solidFill>
              <a:srgbClr val="4A7B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2000" dirty="0">
                  <a:latin typeface="+mj-lt"/>
                </a:rPr>
                <a:t>Events</a:t>
              </a:r>
              <a:endParaRPr lang="en-US" sz="20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39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91" grpId="0" animBg="1"/>
      <p:bldP spid="92" grpId="0" animBg="1"/>
      <p:bldP spid="90" grpId="0" animBg="1"/>
      <p:bldP spid="6" grpId="0"/>
      <p:bldP spid="102" grpId="0"/>
      <p:bldP spid="103" grpId="0"/>
      <p:bldP spid="10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T Thing Description (T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482551" y="1953849"/>
            <a:ext cx="33673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/>
              <a:t>JSON-based document </a:t>
            </a:r>
            <a:r>
              <a:rPr lang="en-US" sz="2000" dirty="0" smtClean="0"/>
              <a:t>that is also machine-understandable (JSON-LD</a:t>
            </a:r>
            <a:r>
              <a:rPr lang="en-US" sz="2000" dirty="0"/>
              <a:t>)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361421" y="6916777"/>
            <a:ext cx="7227012" cy="6608716"/>
            <a:chOff x="4361421" y="1600199"/>
            <a:chExt cx="7227012" cy="6608716"/>
          </a:xfrm>
        </p:grpSpPr>
        <p:sp>
          <p:nvSpPr>
            <p:cNvPr id="3" name="Folded Corner 2"/>
            <p:cNvSpPr/>
            <p:nvPr/>
          </p:nvSpPr>
          <p:spPr>
            <a:xfrm rot="16200000">
              <a:off x="4801697" y="1159924"/>
              <a:ext cx="6346461" cy="7227011"/>
            </a:xfrm>
            <a:prstGeom prst="foldedCorner">
              <a:avLst>
                <a:gd name="adj" fmla="val 14174"/>
              </a:avLst>
            </a:prstGeom>
            <a:solidFill>
              <a:schemeClr val="bg1">
                <a:lumMod val="95000"/>
              </a:schemeClr>
            </a:solidFill>
            <a:ln w="38100">
              <a:solidFill>
                <a:srgbClr val="EB780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361421" y="1600201"/>
              <a:ext cx="7227012" cy="6608714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@context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https://www.w3.org/2019/wot/td/v1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id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urn:dev:ops:32473-WoTLamp-1234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titl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MyLampThing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securityDefinition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de-DE" sz="1400" dirty="0">
                  <a:solidFill>
                    <a:srgbClr val="0000FF"/>
                  </a:solidFill>
                  <a:latin typeface="Consolas"/>
                </a:rPr>
                <a:t>"dflt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schem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basic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}}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security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0000FF"/>
                  </a:solidFill>
                  <a:latin typeface="Consolas"/>
                </a:rPr>
                <a:t>"dflt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b="1" dirty="0">
                  <a:solidFill>
                    <a:srgbClr val="4A7B7C"/>
                  </a:solidFill>
                  <a:latin typeface="Consolas"/>
                </a:rPr>
                <a:t>"propertie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</a:t>
              </a:r>
              <a:r>
                <a:rPr lang="de-DE" sz="1400" dirty="0">
                  <a:solidFill>
                    <a:srgbClr val="0000FF"/>
                  </a:solidFill>
                  <a:latin typeface="Consolas"/>
                </a:rPr>
                <a:t>"statu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typ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string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form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[{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href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https://mylamp.example.com/statu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}]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}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}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b="1" dirty="0">
                  <a:solidFill>
                    <a:srgbClr val="4A7B7C"/>
                  </a:solidFill>
                  <a:latin typeface="Consolas"/>
                </a:rPr>
                <a:t>"action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</a:t>
              </a:r>
              <a:r>
                <a:rPr lang="de-DE" sz="1400" dirty="0">
                  <a:solidFill>
                    <a:srgbClr val="0000FF"/>
                  </a:solidFill>
                  <a:latin typeface="Consolas"/>
                </a:rPr>
                <a:t>"toggl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form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[{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href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https://mylamp.example.com/toggl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}]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}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}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b="1" dirty="0">
                  <a:solidFill>
                    <a:srgbClr val="4A7B7C"/>
                  </a:solidFill>
                  <a:latin typeface="Consolas"/>
                </a:rPr>
                <a:t>"event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</a:t>
              </a:r>
              <a:r>
                <a:rPr lang="de-DE" sz="1400" dirty="0">
                  <a:solidFill>
                    <a:srgbClr val="0000FF"/>
                  </a:solidFill>
                  <a:latin typeface="Consolas"/>
                </a:rPr>
                <a:t>"overheating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data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type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string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}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form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[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href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wss://mylamp.example.com/oh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  }]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}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},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</a:t>
              </a:r>
              <a:r>
                <a:rPr lang="de-DE" sz="1400" b="1" dirty="0">
                  <a:solidFill>
                    <a:srgbClr val="4A7B7C"/>
                  </a:solidFill>
                  <a:latin typeface="Consolas"/>
                </a:rPr>
                <a:t>"links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[{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 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rel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describedby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, </a:t>
              </a:r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"href"</a:t>
              </a:r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de-DE" sz="1400" dirty="0">
                  <a:solidFill>
                    <a:srgbClr val="FF0000"/>
                  </a:solidFill>
                  <a:latin typeface="Consolas"/>
                </a:rPr>
                <a:t>"https://docs.example.com/WoTLamp"</a:t>
              </a:r>
              <a:endParaRPr lang="de-DE" sz="1400" dirty="0">
                <a:solidFill>
                  <a:srgbClr val="000000"/>
                </a:solidFill>
                <a:latin typeface="Consolas"/>
              </a:endParaRP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  }]</a:t>
              </a:r>
            </a:p>
            <a:p>
              <a:r>
                <a:rPr lang="de-DE" sz="1400" dirty="0">
                  <a:solidFill>
                    <a:srgbClr val="000000"/>
                  </a:solidFill>
                  <a:latin typeface="Consolas"/>
                </a:rPr>
                <a:t>}</a:t>
              </a:r>
              <a:endParaRPr lang="en-US" sz="1400" dirty="0">
                <a:solidFill>
                  <a:srgbClr val="000000"/>
                </a:solidFill>
                <a:latin typeface="Consolas"/>
              </a:endParaRPr>
            </a:p>
          </p:txBody>
        </p:sp>
      </p:grpSp>
      <p:sp>
        <p:nvSpPr>
          <p:cNvPr id="10" name="Cube 4"/>
          <p:cNvSpPr/>
          <p:nvPr/>
        </p:nvSpPr>
        <p:spPr>
          <a:xfrm>
            <a:off x="609918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Thing Description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1599" y="4562475"/>
            <a:ext cx="2966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formation model and representation format</a:t>
            </a:r>
            <a:br>
              <a:rPr lang="en-US" sz="2000" dirty="0"/>
            </a:br>
            <a:r>
              <a:rPr lang="en-US" sz="2000" dirty="0"/>
              <a:t>for rich semantic metadata</a:t>
            </a:r>
          </a:p>
          <a:p>
            <a:pPr algn="ctr"/>
            <a:r>
              <a:rPr lang="en-US" sz="2000" dirty="0"/>
              <a:t>“The HTML for Things”</a:t>
            </a:r>
          </a:p>
        </p:txBody>
      </p:sp>
    </p:spTree>
    <p:extLst>
      <p:ext uri="{BB962C8B-B14F-4D97-AF65-F5344CB8AC3E}">
        <p14:creationId xmlns:p14="http://schemas.microsoft.com/office/powerpoint/2010/main" val="4192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26 0.09028 L -0.00026 -0.86435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4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T Thing Description (TD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09918" y="1953849"/>
            <a:ext cx="324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000" dirty="0"/>
              <a:t>With context extensions</a:t>
            </a:r>
            <a:br>
              <a:rPr lang="de-DE" sz="2000" dirty="0"/>
            </a:br>
            <a:r>
              <a:rPr lang="de-DE" sz="2000" dirty="0"/>
              <a:t>for semantic annotations</a:t>
            </a:r>
            <a:br>
              <a:rPr lang="de-DE" sz="2000" dirty="0"/>
            </a:br>
            <a:r>
              <a:rPr lang="de-DE" sz="2000" dirty="0"/>
              <a:t>(e.g., SAREF, eCl@ss)</a:t>
            </a:r>
            <a:endParaRPr lang="en-US" sz="2000" dirty="0"/>
          </a:p>
        </p:txBody>
      </p:sp>
      <p:sp>
        <p:nvSpPr>
          <p:cNvPr id="11" name="Cube 4"/>
          <p:cNvSpPr/>
          <p:nvPr/>
        </p:nvSpPr>
        <p:spPr>
          <a:xfrm>
            <a:off x="609918" y="2969512"/>
            <a:ext cx="3240000" cy="1592963"/>
          </a:xfrm>
          <a:prstGeom prst="cube">
            <a:avLst>
              <a:gd name="adj" fmla="val 16801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00" dirty="0">
                <a:solidFill>
                  <a:sysClr val="window" lastClr="FFFFFF"/>
                </a:solidFill>
                <a:ea typeface="+mn-ea"/>
                <a:cs typeface="Arial" pitchFamily="34" charset="0"/>
              </a:rPr>
              <a:t>WoT Thing Description</a:t>
            </a:r>
            <a:endParaRPr kumimoji="0" lang="en-US" sz="2000" b="1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1599" y="4562475"/>
            <a:ext cx="2966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formation model and representation format</a:t>
            </a:r>
            <a:br>
              <a:rPr lang="en-US" sz="2000" dirty="0"/>
            </a:br>
            <a:r>
              <a:rPr lang="en-US" sz="2000" dirty="0"/>
              <a:t>for rich semantic metadata</a:t>
            </a:r>
          </a:p>
          <a:p>
            <a:pPr algn="ctr"/>
            <a:r>
              <a:rPr lang="en-US" sz="2000" dirty="0"/>
              <a:t>“The HTML for Things”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361421" y="6916777"/>
            <a:ext cx="7227012" cy="7039603"/>
            <a:chOff x="4361421" y="1600199"/>
            <a:chExt cx="7227012" cy="7039603"/>
          </a:xfrm>
        </p:grpSpPr>
        <p:sp>
          <p:nvSpPr>
            <p:cNvPr id="14" name="Folded Corner 13"/>
            <p:cNvSpPr/>
            <p:nvPr/>
          </p:nvSpPr>
          <p:spPr>
            <a:xfrm rot="16200000">
              <a:off x="4801697" y="1159924"/>
              <a:ext cx="6346461" cy="7227011"/>
            </a:xfrm>
            <a:prstGeom prst="foldedCorner">
              <a:avLst>
                <a:gd name="adj" fmla="val 11796"/>
              </a:avLst>
            </a:prstGeom>
            <a:solidFill>
              <a:schemeClr val="bg1">
                <a:lumMod val="95000"/>
              </a:schemeClr>
            </a:solidFill>
            <a:ln w="38100">
              <a:solidFill>
                <a:srgbClr val="EB780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361421" y="1600201"/>
              <a:ext cx="7227012" cy="7039601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{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@context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[</a:t>
              </a:r>
              <a:r>
                <a:rPr lang="de-DE" sz="1400" dirty="0">
                  <a:solidFill>
                    <a:srgbClr val="A31515"/>
                  </a:solidFill>
                  <a:latin typeface="Consolas"/>
                </a:rPr>
                <a:t>"https://www.w3.org/2019/wot/td/v1", 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{</a:t>
              </a:r>
            </a:p>
            <a:p>
              <a:r>
                <a:rPr lang="de-DE" sz="1400" dirty="0">
                  <a:solidFill>
                    <a:srgbClr val="0451A5"/>
                  </a:solidFill>
                  <a:latin typeface="Consolas"/>
                </a:rPr>
                <a:t>    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@languag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en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  <a:endParaRPr lang="en-US" sz="1400" dirty="0">
                <a:solidFill>
                  <a:srgbClr val="0451A5"/>
                </a:solidFill>
                <a:latin typeface="Consolas"/>
              </a:endParaRP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saref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https://w3id.org/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saref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#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"eco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http://www.ebusiness-unibw.org/ontologies/eclass/5.1.4/#"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  }]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@typ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[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Thing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eco:C_AKJ644003-ge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]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id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urn:dev:ops:32473-smart-machine-0815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titl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Smart Manufacturing System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descriptio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Entry point Thing with high-level control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versio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instanc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1.2.3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},</a:t>
              </a:r>
              <a:endParaRPr lang="en-US" sz="1400" dirty="0">
                <a:solidFill>
                  <a:srgbClr val="0451A5"/>
                </a:solidFill>
                <a:latin typeface="Consolas"/>
              </a:endParaRP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support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mailto:support@example.com?subject=Smart+Manufacturing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securityDefinitions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en-US" sz="1400" dirty="0">
                  <a:solidFill>
                    <a:srgbClr val="0000FF"/>
                  </a:solidFill>
                  <a:latin typeface="Consolas"/>
                </a:rPr>
                <a:t>"token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schem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bearer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}}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security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0000FF"/>
                  </a:solidFill>
                  <a:latin typeface="Consolas"/>
                </a:rPr>
                <a:t>"token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"eco:P_BAA001001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Acme Corporatio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</a:t>
              </a:r>
              <a:r>
                <a:rPr lang="en-US" sz="1400" b="1" dirty="0">
                  <a:solidFill>
                    <a:srgbClr val="4A7B7C"/>
                  </a:solidFill>
                  <a:latin typeface="Consolas"/>
                </a:rPr>
                <a:t>"propertie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</a:t>
              </a:r>
              <a:r>
                <a:rPr lang="en-US" sz="1400" dirty="0">
                  <a:solidFill>
                    <a:srgbClr val="0000FF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0000FF"/>
                  </a:solidFill>
                  <a:latin typeface="Consolas"/>
                </a:rPr>
                <a:t>operatingMode</a:t>
              </a:r>
              <a:r>
                <a:rPr lang="en-US" sz="1400" dirty="0">
                  <a:solidFill>
                    <a:srgbClr val="0000FF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@typ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saref:MultiLevelState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descriptio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The current mode of the manufacturing system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readOnly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true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     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"typ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string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form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[{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  "op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readproperty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  <a:endParaRPr lang="en-US" sz="1400" dirty="0">
                <a:solidFill>
                  <a:srgbClr val="0451A5"/>
                </a:solidFill>
                <a:latin typeface="Consolas"/>
              </a:endParaRP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href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FF0000"/>
                  </a:solidFill>
                  <a:latin typeface="Consolas"/>
                </a:rPr>
                <a:t>opc.tcp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://192.168.0.1:4840?ns=3;s=</a:t>
              </a:r>
              <a:r>
                <a:rPr lang="en-US" sz="1400" dirty="0" err="1">
                  <a:solidFill>
                    <a:srgbClr val="FF0000"/>
                  </a:solidFill>
                  <a:latin typeface="Consolas"/>
                </a:rPr>
                <a:t>System.Mode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contentType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application/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json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endParaRPr lang="en-US" sz="1400" dirty="0">
                <a:solidFill>
                  <a:srgbClr val="000000"/>
                </a:solidFill>
                <a:latin typeface="Consolas"/>
              </a:endParaRPr>
            </a:p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      }]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    },</a:t>
              </a:r>
            </a:p>
            <a:p>
              <a:r>
                <a:rPr lang="en-US" sz="1400" dirty="0">
                  <a:solidFill>
                    <a:srgbClr val="0000FF"/>
                  </a:solidFill>
                  <a:latin typeface="Consolas"/>
                </a:rPr>
                <a:t>    "manufactured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{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@typ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 err="1">
                  <a:solidFill>
                    <a:srgbClr val="A31515"/>
                  </a:solidFill>
                  <a:latin typeface="Consolas"/>
                </a:rPr>
                <a:t>saref:Measurement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description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FF0000"/>
                  </a:solidFill>
                  <a:latin typeface="Consolas"/>
                </a:rPr>
                <a:t>"The number of produced boxes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     "</a:t>
              </a:r>
              <a:r>
                <a:rPr lang="en-US" sz="1400" dirty="0" err="1">
                  <a:solidFill>
                    <a:srgbClr val="0451A5"/>
                  </a:solidFill>
                  <a:latin typeface="Consolas"/>
                </a:rPr>
                <a:t>readOnly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true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     </a:t>
              </a:r>
              <a:r>
                <a:rPr lang="en-US" sz="1400" dirty="0">
                  <a:solidFill>
                    <a:srgbClr val="0451A5"/>
                  </a:solidFill>
                  <a:latin typeface="Consolas"/>
                </a:rPr>
                <a:t> "type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: </a:t>
              </a:r>
              <a:r>
                <a:rPr lang="en-US" sz="1400" dirty="0">
                  <a:solidFill>
                    <a:srgbClr val="A31515"/>
                  </a:solidFill>
                  <a:latin typeface="Consolas"/>
                </a:rPr>
                <a:t>"integer"</a:t>
              </a:r>
              <a:r>
                <a:rPr lang="en-US" sz="1400" dirty="0">
                  <a:solidFill>
                    <a:srgbClr val="000000"/>
                  </a:solidFill>
                  <a:latin typeface="Consolas"/>
                </a:rPr>
                <a:t>,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050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26 0.09028 L -0.00026 -0.86435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4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novation of WoT T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5451104" y="2757910"/>
            <a:ext cx="1296142" cy="1296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b="1" dirty="0">
                <a:solidFill>
                  <a:srgbClr val="4A7B7C"/>
                </a:solidFill>
              </a:rPr>
              <a:t>TD</a:t>
            </a:r>
            <a:endParaRPr lang="en-US" sz="4400" b="1" dirty="0">
              <a:solidFill>
                <a:srgbClr val="4A7B7C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45487" y="5382044"/>
            <a:ext cx="97074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i="1" dirty="0"/>
              <a:t>WoT Thing Description combines three distinct, complementary technologies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109187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5690871"/>
              </p:ext>
            </p:extLst>
          </p:nvPr>
        </p:nvGraphicFramePr>
        <p:xfrm>
          <a:off x="3714428" y="1143000"/>
          <a:ext cx="476949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vation of WoT T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5451104" y="2757910"/>
            <a:ext cx="1296142" cy="1296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4A7B7C"/>
                </a:solidFill>
              </a:rPr>
              <a:t>T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600" y="1600200"/>
            <a:ext cx="3888821" cy="24776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JSON Schema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Description</a:t>
            </a:r>
            <a:r>
              <a:rPr lang="en-US" sz="2000" dirty="0"/>
              <a:t> of existing data formats</a:t>
            </a:r>
          </a:p>
          <a:p>
            <a:pPr>
              <a:spcAft>
                <a:spcPts val="600"/>
              </a:spcAft>
            </a:pPr>
            <a:r>
              <a:rPr lang="en-US" sz="2000" b="1" dirty="0"/>
              <a:t>Validation</a:t>
            </a:r>
            <a:r>
              <a:rPr lang="en-US" sz="2000" dirty="0"/>
              <a:t> of payloads through</a:t>
            </a:r>
            <a:br>
              <a:rPr lang="en-US" sz="2000" dirty="0"/>
            </a:br>
            <a:r>
              <a:rPr lang="en-US" sz="2000" dirty="0"/>
              <a:t>available implementation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Already in use by industry,</a:t>
            </a:r>
            <a:br>
              <a:rPr lang="en-US" sz="2000" dirty="0"/>
            </a:br>
            <a:r>
              <a:rPr lang="en-US" sz="2000" dirty="0"/>
              <a:t>e.g., </a:t>
            </a:r>
            <a:r>
              <a:rPr lang="en-US" sz="2000" dirty="0" err="1"/>
              <a:t>OpenAPI</a:t>
            </a:r>
            <a:r>
              <a:rPr lang="en-US" sz="2000" dirty="0"/>
              <a:t> (</a:t>
            </a:r>
            <a:r>
              <a:rPr lang="en-US" sz="2000" dirty="0" err="1"/>
              <a:t>microservices</a:t>
            </a:r>
            <a:r>
              <a:rPr lang="en-US" sz="2000" dirty="0"/>
              <a:t>),</a:t>
            </a:r>
            <a:br>
              <a:rPr lang="en-US" sz="2000" dirty="0"/>
            </a:br>
            <a:r>
              <a:rPr lang="en-US" sz="2000" dirty="0"/>
              <a:t>Open Connectivity Foundation</a:t>
            </a:r>
          </a:p>
        </p:txBody>
      </p:sp>
    </p:spTree>
    <p:extLst>
      <p:ext uri="{BB962C8B-B14F-4D97-AF65-F5344CB8AC3E}">
        <p14:creationId xmlns:p14="http://schemas.microsoft.com/office/powerpoint/2010/main" val="399578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Three columns</Name>
  <PpLayout>32</PpLayout>
  <Index>14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Four objects</Name>
  <PpLayout>24</PpLayout>
  <Index>15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9299034F-B9D7-46FC-B241-DC94BF0E67F6}">
  <ds:schemaRefs/>
</ds:datastoreItem>
</file>

<file path=customXml/itemProps10.xml><?xml version="1.0" encoding="utf-8"?>
<ds:datastoreItem xmlns:ds="http://schemas.openxmlformats.org/officeDocument/2006/customXml" ds:itemID="{864B6C15-1FF1-4ADA-8DBE-CD1DAF35B070}">
  <ds:schemaRefs/>
</ds:datastoreItem>
</file>

<file path=customXml/itemProps11.xml><?xml version="1.0" encoding="utf-8"?>
<ds:datastoreItem xmlns:ds="http://schemas.openxmlformats.org/officeDocument/2006/customXml" ds:itemID="{A27DC4FC-F9FA-4AC8-AAAA-729E607CE7E5}">
  <ds:schemaRefs/>
</ds:datastoreItem>
</file>

<file path=customXml/itemProps12.xml><?xml version="1.0" encoding="utf-8"?>
<ds:datastoreItem xmlns:ds="http://schemas.openxmlformats.org/officeDocument/2006/customXml" ds:itemID="{69E3DA23-9724-4848-A6F6-2F0F36B1F914}">
  <ds:schemaRefs/>
</ds:datastoreItem>
</file>

<file path=customXml/itemProps13.xml><?xml version="1.0" encoding="utf-8"?>
<ds:datastoreItem xmlns:ds="http://schemas.openxmlformats.org/officeDocument/2006/customXml" ds:itemID="{8699A006-2152-4093-B4FC-C6BF20D5E592}">
  <ds:schemaRefs/>
</ds:datastoreItem>
</file>

<file path=customXml/itemProps2.xml><?xml version="1.0" encoding="utf-8"?>
<ds:datastoreItem xmlns:ds="http://schemas.openxmlformats.org/officeDocument/2006/customXml" ds:itemID="{0D9599B2-641B-429C-8C85-C591ECF8C990}">
  <ds:schemaRefs/>
</ds:datastoreItem>
</file>

<file path=customXml/itemProps3.xml><?xml version="1.0" encoding="utf-8"?>
<ds:datastoreItem xmlns:ds="http://schemas.openxmlformats.org/officeDocument/2006/customXml" ds:itemID="{B19D05D1-AE0E-4B0D-AA6A-E4DC4507B75E}">
  <ds:schemaRefs/>
</ds:datastoreItem>
</file>

<file path=customXml/itemProps4.xml><?xml version="1.0" encoding="utf-8"?>
<ds:datastoreItem xmlns:ds="http://schemas.openxmlformats.org/officeDocument/2006/customXml" ds:itemID="{F14BB4E7-BF22-46E2-AA3C-1ABA12A0B021}">
  <ds:schemaRefs/>
</ds:datastoreItem>
</file>

<file path=customXml/itemProps5.xml><?xml version="1.0" encoding="utf-8"?>
<ds:datastoreItem xmlns:ds="http://schemas.openxmlformats.org/officeDocument/2006/customXml" ds:itemID="{4E8C063E-54DF-40B8-B6B7-24C91B170904}">
  <ds:schemaRefs/>
</ds:datastoreItem>
</file>

<file path=customXml/itemProps6.xml><?xml version="1.0" encoding="utf-8"?>
<ds:datastoreItem xmlns:ds="http://schemas.openxmlformats.org/officeDocument/2006/customXml" ds:itemID="{F718F79D-2091-4AD7-864E-B9B95B323394}">
  <ds:schemaRefs/>
</ds:datastoreItem>
</file>

<file path=customXml/itemProps7.xml><?xml version="1.0" encoding="utf-8"?>
<ds:datastoreItem xmlns:ds="http://schemas.openxmlformats.org/officeDocument/2006/customXml" ds:itemID="{B5096DD8-53C8-4E83-8664-FC4F8BE8B725}">
  <ds:schemaRefs/>
</ds:datastoreItem>
</file>

<file path=customXml/itemProps8.xml><?xml version="1.0" encoding="utf-8"?>
<ds:datastoreItem xmlns:ds="http://schemas.openxmlformats.org/officeDocument/2006/customXml" ds:itemID="{0091252C-F36F-40C9-984C-22582B3E6FB3}">
  <ds:schemaRefs/>
</ds:datastoreItem>
</file>

<file path=customXml/itemProps9.xml><?xml version="1.0" encoding="utf-8"?>
<ds:datastoreItem xmlns:ds="http://schemas.openxmlformats.org/officeDocument/2006/customXml" ds:itemID="{3C206999-0CDF-47B3-B85E-D5652B9D781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8</TotalTime>
  <Words>838</Words>
  <Application>Microsoft Office PowerPoint</Application>
  <PresentationFormat>Custom</PresentationFormat>
  <Paragraphs>240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onsolas</vt:lpstr>
      <vt:lpstr>Courier New</vt:lpstr>
      <vt:lpstr>HG明朝E</vt:lpstr>
      <vt:lpstr>Wingdings</vt:lpstr>
      <vt:lpstr>Title Slides</vt:lpstr>
      <vt:lpstr>Content Slides</vt:lpstr>
      <vt:lpstr>W3C WoT Standardization</vt:lpstr>
      <vt:lpstr>Internet of Things</vt:lpstr>
      <vt:lpstr>Industrial Internet of Things</vt:lpstr>
      <vt:lpstr>Industrial Internet of Things</vt:lpstr>
      <vt:lpstr>W3C WoT Building Blocks</vt:lpstr>
      <vt:lpstr>WoT Thing Description (TD)</vt:lpstr>
      <vt:lpstr>WoT Thing Description (TD)</vt:lpstr>
      <vt:lpstr>Innovation of WoT TDs</vt:lpstr>
      <vt:lpstr>Innovation of WoT TDs</vt:lpstr>
      <vt:lpstr>Innovation of WoT TDs</vt:lpstr>
      <vt:lpstr>Innovation of WoT TDs</vt:lpstr>
      <vt:lpstr>What Is Next?</vt:lpstr>
      <vt:lpstr>W3C WoT Standardization</vt:lpstr>
      <vt:lpstr>Contac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Frank MATTHIAS KOVATSCH</cp:lastModifiedBy>
  <cp:revision>270</cp:revision>
  <dcterms:created xsi:type="dcterms:W3CDTF">2018-05-15T12:31:41Z</dcterms:created>
  <dcterms:modified xsi:type="dcterms:W3CDTF">2019-06-03T09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507561</vt:lpwstr>
  </property>
</Properties>
</file>